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257" r:id="rId3"/>
    <p:sldId id="263" r:id="rId4"/>
    <p:sldId id="258" r:id="rId5"/>
    <p:sldId id="298" r:id="rId6"/>
    <p:sldId id="283" r:id="rId7"/>
    <p:sldId id="276" r:id="rId8"/>
    <p:sldId id="281" r:id="rId9"/>
    <p:sldId id="277" r:id="rId10"/>
    <p:sldId id="282" r:id="rId11"/>
    <p:sldId id="287" r:id="rId12"/>
    <p:sldId id="288" r:id="rId13"/>
    <p:sldId id="262" r:id="rId14"/>
    <p:sldId id="264" r:id="rId15"/>
    <p:sldId id="266" r:id="rId16"/>
    <p:sldId id="267" r:id="rId17"/>
    <p:sldId id="268" r:id="rId18"/>
    <p:sldId id="290" r:id="rId19"/>
    <p:sldId id="291" r:id="rId20"/>
    <p:sldId id="292" r:id="rId21"/>
    <p:sldId id="293" r:id="rId22"/>
    <p:sldId id="294" r:id="rId23"/>
    <p:sldId id="269" r:id="rId24"/>
    <p:sldId id="289" r:id="rId25"/>
    <p:sldId id="270" r:id="rId26"/>
    <p:sldId id="272" r:id="rId27"/>
    <p:sldId id="285" r:id="rId28"/>
    <p:sldId id="286" r:id="rId29"/>
    <p:sldId id="295" r:id="rId30"/>
    <p:sldId id="261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chman, Cathryn F." initials="MCF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A6C5"/>
    <a:srgbClr val="AB7942"/>
    <a:srgbClr val="E1D555"/>
    <a:srgbClr val="F07B00"/>
    <a:srgbClr val="658D1B"/>
    <a:srgbClr val="5E514D"/>
    <a:srgbClr val="564A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297" autoAdjust="0"/>
    <p:restoredTop sz="82014" autoAdjust="0"/>
  </p:normalViewPr>
  <p:slideViewPr>
    <p:cSldViewPr>
      <p:cViewPr varScale="1">
        <p:scale>
          <a:sx n="75" d="100"/>
          <a:sy n="75" d="100"/>
        </p:scale>
        <p:origin x="-110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813490660363598E-2"/>
          <c:y val="2.3736001749781299E-2"/>
          <c:w val="0.71397366818755603"/>
          <c:h val="0.858587926509187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sheltered</c:v>
                </c:pt>
              </c:strCache>
            </c:strRef>
          </c:tx>
          <c:spPr>
            <a:solidFill>
              <a:srgbClr val="7AA6C5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851</c:v>
                </c:pt>
                <c:pt idx="1">
                  <c:v>2105</c:v>
                </c:pt>
                <c:pt idx="3">
                  <c:v>1733</c:v>
                </c:pt>
                <c:pt idx="4">
                  <c:v>1375</c:v>
                </c:pt>
                <c:pt idx="5">
                  <c:v>1037</c:v>
                </c:pt>
                <c:pt idx="6">
                  <c:v>838</c:v>
                </c:pt>
                <c:pt idx="7">
                  <c:v>68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eltered</c:v>
                </c:pt>
              </c:strCache>
            </c:strRef>
          </c:tx>
          <c:spPr>
            <a:solidFill>
              <a:srgbClr val="F07B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2269</c:v>
                </c:pt>
                <c:pt idx="1">
                  <c:v>2340</c:v>
                </c:pt>
                <c:pt idx="3">
                  <c:v>2564</c:v>
                </c:pt>
                <c:pt idx="4">
                  <c:v>1988</c:v>
                </c:pt>
                <c:pt idx="5">
                  <c:v>1688</c:v>
                </c:pt>
                <c:pt idx="6">
                  <c:v>1443</c:v>
                </c:pt>
                <c:pt idx="7">
                  <c:v>156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ransitional</c:v>
                </c:pt>
              </c:strCache>
            </c:strRef>
          </c:tx>
          <c:spPr>
            <a:solidFill>
              <a:srgbClr val="E1D555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011</c:v>
                </c:pt>
                <c:pt idx="1">
                  <c:v>1542</c:v>
                </c:pt>
                <c:pt idx="3">
                  <c:v>1239</c:v>
                </c:pt>
                <c:pt idx="4">
                  <c:v>1434</c:v>
                </c:pt>
                <c:pt idx="5">
                  <c:v>1592</c:v>
                </c:pt>
                <c:pt idx="6">
                  <c:v>1782</c:v>
                </c:pt>
                <c:pt idx="7">
                  <c:v>13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3021440"/>
        <c:axId val="43022976"/>
      </c:barChart>
      <c:catAx>
        <c:axId val="43021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3022976"/>
        <c:crosses val="autoZero"/>
        <c:auto val="1"/>
        <c:lblAlgn val="ctr"/>
        <c:lblOffset val="100"/>
        <c:noMultiLvlLbl val="0"/>
      </c:catAx>
      <c:valAx>
        <c:axId val="430229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4302144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kalb</c:v>
                </c:pt>
              </c:strCache>
            </c:strRef>
          </c:tx>
          <c:spPr>
            <a:solidFill>
              <a:srgbClr val="7AA6C5"/>
            </a:solidFill>
          </c:spPr>
          <c:invertIfNegative val="0"/>
          <c:dLbls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90</c:v>
                </c:pt>
                <c:pt idx="1">
                  <c:v>473</c:v>
                </c:pt>
                <c:pt idx="2">
                  <c:v>449</c:v>
                </c:pt>
                <c:pt idx="3">
                  <c:v>306</c:v>
                </c:pt>
                <c:pt idx="4">
                  <c:v>32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lton</c:v>
                </c:pt>
              </c:strCache>
            </c:strRef>
          </c:tx>
          <c:spPr>
            <a:solidFill>
              <a:srgbClr val="F07B00"/>
            </a:solidFill>
          </c:spPr>
          <c:invertIfNegative val="0"/>
          <c:dLbls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245</c:v>
                </c:pt>
                <c:pt idx="1">
                  <c:v>285</c:v>
                </c:pt>
                <c:pt idx="2">
                  <c:v>241</c:v>
                </c:pt>
                <c:pt idx="3">
                  <c:v>244</c:v>
                </c:pt>
                <c:pt idx="4">
                  <c:v>24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bb</c:v>
                </c:pt>
              </c:strCache>
            </c:strRef>
          </c:tx>
          <c:spPr>
            <a:solidFill>
              <a:srgbClr val="658D1B"/>
            </a:solidFill>
          </c:spPr>
          <c:invertIfNegative val="0"/>
          <c:dLbls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325</c:v>
                </c:pt>
                <c:pt idx="1">
                  <c:v>352</c:v>
                </c:pt>
                <c:pt idx="2">
                  <c:v>273</c:v>
                </c:pt>
                <c:pt idx="3">
                  <c:v>272</c:v>
                </c:pt>
                <c:pt idx="4">
                  <c:v>27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42730624"/>
        <c:axId val="42732160"/>
      </c:barChart>
      <c:catAx>
        <c:axId val="427306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42732160"/>
        <c:crosses val="autoZero"/>
        <c:auto val="1"/>
        <c:lblAlgn val="ctr"/>
        <c:lblOffset val="100"/>
        <c:noMultiLvlLbl val="0"/>
      </c:catAx>
      <c:valAx>
        <c:axId val="42732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2730624"/>
        <c:crosses val="autoZero"/>
        <c:crossBetween val="between"/>
        <c:majorUnit val="1000"/>
      </c:valAx>
    </c:plotArea>
    <c:legend>
      <c:legendPos val="b"/>
      <c:layout>
        <c:manualLayout>
          <c:xMode val="edge"/>
          <c:yMode val="edge"/>
          <c:x val="0.26503359098461315"/>
          <c:y val="0.8842539937137488"/>
          <c:w val="0.47604902598184401"/>
          <c:h val="9.0025841677197752E-2"/>
        </c:manualLayout>
      </c:layout>
      <c:overlay val="0"/>
      <c:txPr>
        <a:bodyPr/>
        <a:lstStyle/>
        <a:p>
          <a:pPr>
            <a:defRPr sz="2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8FD688-E058-448E-9ED2-D94999E57F5F}" type="doc">
      <dgm:prSet loTypeId="urn:microsoft.com/office/officeart/2009/3/layout/RandomtoResult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84AA268-8029-4545-9F22-2CE1745218C9}">
      <dgm:prSet phldrT="[Text]" custT="1"/>
      <dgm:spPr/>
      <dgm:t>
        <a:bodyPr/>
        <a:lstStyle/>
        <a:p>
          <a:r>
            <a:rPr lang="en-US" sz="3600" b="0" i="0" dirty="0" smtClean="0">
              <a:solidFill>
                <a:schemeClr val="accent3"/>
              </a:solidFill>
              <a:latin typeface="Calibri" charset="0"/>
              <a:ea typeface="Calibri" charset="0"/>
              <a:cs typeface="Calibri" charset="0"/>
            </a:rPr>
            <a:t>Programs</a:t>
          </a:r>
          <a:endParaRPr lang="en-US" sz="3600" b="0" i="0" dirty="0">
            <a:solidFill>
              <a:schemeClr val="accent3"/>
            </a:solidFill>
            <a:latin typeface="Calibri" charset="0"/>
            <a:ea typeface="Calibri" charset="0"/>
            <a:cs typeface="Calibri" charset="0"/>
          </a:endParaRPr>
        </a:p>
      </dgm:t>
    </dgm:pt>
    <dgm:pt modelId="{6745103A-ECC9-4868-A0DC-5D75CFC5F650}" type="parTrans" cxnId="{FCD0570B-0023-409F-A12F-2A4A41DBB16A}">
      <dgm:prSet/>
      <dgm:spPr/>
      <dgm:t>
        <a:bodyPr/>
        <a:lstStyle/>
        <a:p>
          <a:endParaRPr lang="en-US"/>
        </a:p>
      </dgm:t>
    </dgm:pt>
    <dgm:pt modelId="{E836C4B5-68DD-48D3-A03C-D4197B917EDF}" type="sibTrans" cxnId="{FCD0570B-0023-409F-A12F-2A4A41DBB16A}">
      <dgm:prSet/>
      <dgm:spPr/>
      <dgm:t>
        <a:bodyPr/>
        <a:lstStyle/>
        <a:p>
          <a:endParaRPr lang="en-US"/>
        </a:p>
      </dgm:t>
    </dgm:pt>
    <dgm:pt modelId="{210DBD21-D2A7-49DC-9D12-D2D14FE41841}">
      <dgm:prSet phldrT="[Text]"/>
      <dgm:spPr/>
      <dgm:t>
        <a:bodyPr/>
        <a:lstStyle/>
        <a:p>
          <a:r>
            <a:rPr lang="en-US" b="1" i="0" dirty="0" smtClean="0">
              <a:solidFill>
                <a:srgbClr val="F07B00"/>
              </a:solidFill>
              <a:latin typeface="Calibri" charset="0"/>
              <a:ea typeface="Calibri" charset="0"/>
              <a:cs typeface="Calibri" charset="0"/>
            </a:rPr>
            <a:t>Prior: </a:t>
          </a:r>
          <a:r>
            <a:rPr lang="en-US" b="0" i="0" dirty="0" smtClean="0">
              <a:latin typeface="Calibri" charset="0"/>
              <a:ea typeface="Calibri" charset="0"/>
              <a:cs typeface="Calibri" charset="0"/>
            </a:rPr>
            <a:t>Diverse group of independent providers using lots of methods to achieve various goals</a:t>
          </a:r>
          <a:endParaRPr lang="en-US" b="0" i="0" dirty="0">
            <a:latin typeface="Calibri" charset="0"/>
            <a:ea typeface="Calibri" charset="0"/>
            <a:cs typeface="Calibri" charset="0"/>
          </a:endParaRPr>
        </a:p>
      </dgm:t>
    </dgm:pt>
    <dgm:pt modelId="{422CE3C5-FD13-4DA4-8662-1D968E44C823}" type="parTrans" cxnId="{F4DBCCAE-DDE4-4531-AA4A-41ADC1CD4718}">
      <dgm:prSet/>
      <dgm:spPr/>
      <dgm:t>
        <a:bodyPr/>
        <a:lstStyle/>
        <a:p>
          <a:endParaRPr lang="en-US"/>
        </a:p>
      </dgm:t>
    </dgm:pt>
    <dgm:pt modelId="{E5682E1E-D0A7-47EF-A2C0-602046B19FBB}" type="sibTrans" cxnId="{F4DBCCAE-DDE4-4531-AA4A-41ADC1CD4718}">
      <dgm:prSet/>
      <dgm:spPr/>
      <dgm:t>
        <a:bodyPr/>
        <a:lstStyle/>
        <a:p>
          <a:endParaRPr lang="en-US"/>
        </a:p>
      </dgm:t>
    </dgm:pt>
    <dgm:pt modelId="{86FC5F89-3A1C-402D-BA5D-629B844CC739}">
      <dgm:prSet phldrT="[Text]" custT="1"/>
      <dgm:spPr>
        <a:solidFill>
          <a:srgbClr val="7AA6C5"/>
        </a:solidFill>
        <a:ln w="57150">
          <a:noFill/>
        </a:ln>
      </dgm:spPr>
      <dgm:t>
        <a:bodyPr/>
        <a:lstStyle/>
        <a:p>
          <a:r>
            <a:rPr lang="en-US" sz="2800" b="0" i="0" dirty="0" smtClean="0">
              <a:latin typeface="Calibri" charset="0"/>
              <a:ea typeface="Calibri" charset="0"/>
              <a:cs typeface="Calibri" charset="0"/>
            </a:rPr>
            <a:t>Crisis response system</a:t>
          </a:r>
          <a:endParaRPr lang="en-US" sz="2800" b="0" i="0" dirty="0">
            <a:latin typeface="Calibri" charset="0"/>
            <a:ea typeface="Calibri" charset="0"/>
            <a:cs typeface="Calibri" charset="0"/>
          </a:endParaRPr>
        </a:p>
      </dgm:t>
    </dgm:pt>
    <dgm:pt modelId="{3B956E44-951B-4997-8899-2F5E76C17362}" type="parTrans" cxnId="{2D6B3F87-482D-483E-A77F-711C888E5BCF}">
      <dgm:prSet/>
      <dgm:spPr/>
      <dgm:t>
        <a:bodyPr/>
        <a:lstStyle/>
        <a:p>
          <a:endParaRPr lang="en-US"/>
        </a:p>
      </dgm:t>
    </dgm:pt>
    <dgm:pt modelId="{BF6536D4-F28E-424E-8400-A65C3F4D32E5}" type="sibTrans" cxnId="{2D6B3F87-482D-483E-A77F-711C888E5BCF}">
      <dgm:prSet/>
      <dgm:spPr/>
      <dgm:t>
        <a:bodyPr/>
        <a:lstStyle/>
        <a:p>
          <a:endParaRPr lang="en-US"/>
        </a:p>
      </dgm:t>
    </dgm:pt>
    <dgm:pt modelId="{CC455C38-CB54-4274-8A9F-3199C0A550F3}">
      <dgm:prSet phldrT="[Text]"/>
      <dgm:spPr/>
      <dgm:t>
        <a:bodyPr/>
        <a:lstStyle/>
        <a:p>
          <a:r>
            <a:rPr lang="en-US" b="1" i="0" dirty="0" smtClean="0">
              <a:solidFill>
                <a:srgbClr val="F07B00"/>
              </a:solidFill>
              <a:latin typeface="Calibri" charset="0"/>
              <a:ea typeface="Calibri" charset="0"/>
              <a:cs typeface="Calibri" charset="0"/>
            </a:rPr>
            <a:t>Vision: </a:t>
          </a:r>
          <a:r>
            <a:rPr lang="en-US" b="0" i="0" dirty="0" smtClean="0">
              <a:solidFill>
                <a:schemeClr val="tx1"/>
              </a:solidFill>
              <a:latin typeface="Calibri" charset="0"/>
              <a:ea typeface="Calibri" charset="0"/>
              <a:cs typeface="Calibri" charset="0"/>
            </a:rPr>
            <a:t>A</a:t>
          </a:r>
          <a:r>
            <a:rPr lang="en-US" b="0" i="0" dirty="0" smtClean="0">
              <a:latin typeface="Calibri" charset="0"/>
              <a:ea typeface="Calibri" charset="0"/>
              <a:cs typeface="Calibri" charset="0"/>
            </a:rPr>
            <a:t> collective network of providers aligning coordinated efforts and resources to maximize impact</a:t>
          </a:r>
          <a:endParaRPr lang="en-US" b="0" i="0" dirty="0">
            <a:latin typeface="Calibri" charset="0"/>
            <a:ea typeface="Calibri" charset="0"/>
            <a:cs typeface="Calibri" charset="0"/>
          </a:endParaRPr>
        </a:p>
      </dgm:t>
    </dgm:pt>
    <dgm:pt modelId="{5954971D-0527-4571-8F36-49DB68755723}" type="parTrans" cxnId="{A40EA135-C824-4F3D-8952-6B7A9AC6999A}">
      <dgm:prSet/>
      <dgm:spPr/>
      <dgm:t>
        <a:bodyPr/>
        <a:lstStyle/>
        <a:p>
          <a:endParaRPr lang="en-US"/>
        </a:p>
      </dgm:t>
    </dgm:pt>
    <dgm:pt modelId="{732969CC-8E20-4DDD-BA2A-7C3650F48A32}" type="sibTrans" cxnId="{A40EA135-C824-4F3D-8952-6B7A9AC6999A}">
      <dgm:prSet/>
      <dgm:spPr/>
      <dgm:t>
        <a:bodyPr/>
        <a:lstStyle/>
        <a:p>
          <a:endParaRPr lang="en-US"/>
        </a:p>
      </dgm:t>
    </dgm:pt>
    <dgm:pt modelId="{415BACFF-62A1-43AD-90F6-38CAB11202BC}" type="pres">
      <dgm:prSet presAssocID="{918FD688-E058-448E-9ED2-D94999E57F5F}" presName="Name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163F2580-F435-43B4-B0FB-3A6D2D72E870}" type="pres">
      <dgm:prSet presAssocID="{A84AA268-8029-4545-9F22-2CE1745218C9}" presName="chaos" presStyleCnt="0"/>
      <dgm:spPr/>
    </dgm:pt>
    <dgm:pt modelId="{3D93AF45-04C1-4F3A-BA5C-0AC5A605F431}" type="pres">
      <dgm:prSet presAssocID="{A84AA268-8029-4545-9F22-2CE1745218C9}" presName="parTx1" presStyleLbl="revTx" presStyleIdx="0" presStyleCnt="3"/>
      <dgm:spPr/>
      <dgm:t>
        <a:bodyPr/>
        <a:lstStyle/>
        <a:p>
          <a:endParaRPr lang="en-US"/>
        </a:p>
      </dgm:t>
    </dgm:pt>
    <dgm:pt modelId="{63851D03-3289-4DEF-B149-BB10EF6C48D6}" type="pres">
      <dgm:prSet presAssocID="{A84AA268-8029-4545-9F22-2CE1745218C9}" presName="desTx1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3A74BB-0CDB-491A-9F9E-35E3E2586480}" type="pres">
      <dgm:prSet presAssocID="{A84AA268-8029-4545-9F22-2CE1745218C9}" presName="c1" presStyleLbl="node1" presStyleIdx="0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24216E4D-24CB-4BBC-A937-7EEFBF4843A8}" type="pres">
      <dgm:prSet presAssocID="{A84AA268-8029-4545-9F22-2CE1745218C9}" presName="c2" presStyleLbl="node1" presStyleIdx="1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DF237C18-0C88-4C49-B8FC-E6811F3E7ACB}" type="pres">
      <dgm:prSet presAssocID="{A84AA268-8029-4545-9F22-2CE1745218C9}" presName="c3" presStyleLbl="node1" presStyleIdx="2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0E709B3D-9CCE-4A7E-95F7-3A83EC51A3A5}" type="pres">
      <dgm:prSet presAssocID="{A84AA268-8029-4545-9F22-2CE1745218C9}" presName="c4" presStyleLbl="node1" presStyleIdx="3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E1CF2108-9EEB-4A30-BF1E-0B3A11D7FA9E}" type="pres">
      <dgm:prSet presAssocID="{A84AA268-8029-4545-9F22-2CE1745218C9}" presName="c5" presStyleLbl="node1" presStyleIdx="4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424F5352-045B-4E73-B267-8E643F7C0C04}" type="pres">
      <dgm:prSet presAssocID="{A84AA268-8029-4545-9F22-2CE1745218C9}" presName="c6" presStyleLbl="node1" presStyleIdx="5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407B81C8-7EDB-46E3-A811-481D002F2CBE}" type="pres">
      <dgm:prSet presAssocID="{A84AA268-8029-4545-9F22-2CE1745218C9}" presName="c7" presStyleLbl="node1" presStyleIdx="6" presStyleCnt="19"/>
      <dgm:spPr>
        <a:solidFill>
          <a:srgbClr val="F07B00"/>
        </a:solidFill>
      </dgm:spPr>
      <dgm:t>
        <a:bodyPr/>
        <a:lstStyle/>
        <a:p>
          <a:endParaRPr lang="en-US"/>
        </a:p>
      </dgm:t>
    </dgm:pt>
    <dgm:pt modelId="{F39A24EA-B1AC-4451-941D-86CE6BA1C7AF}" type="pres">
      <dgm:prSet presAssocID="{A84AA268-8029-4545-9F22-2CE1745218C9}" presName="c8" presStyleLbl="node1" presStyleIdx="7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34BE84F6-F6E1-4534-92B2-A6EEA2CE6460}" type="pres">
      <dgm:prSet presAssocID="{A84AA268-8029-4545-9F22-2CE1745218C9}" presName="c9" presStyleLbl="node1" presStyleIdx="8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478C8E5D-3A9F-448C-9AC3-8522DAE3A159}" type="pres">
      <dgm:prSet presAssocID="{A84AA268-8029-4545-9F22-2CE1745218C9}" presName="c10" presStyleLbl="node1" presStyleIdx="9" presStyleCnt="19" custLinFactNeighborX="5801" custLinFactNeighborY="653"/>
      <dgm:spPr>
        <a:solidFill>
          <a:srgbClr val="7AA6C5"/>
        </a:solidFill>
      </dgm:spPr>
      <dgm:t>
        <a:bodyPr/>
        <a:lstStyle/>
        <a:p>
          <a:endParaRPr lang="en-US"/>
        </a:p>
      </dgm:t>
    </dgm:pt>
    <dgm:pt modelId="{A54D869F-AD83-4C6A-9825-AF67BF92F689}" type="pres">
      <dgm:prSet presAssocID="{A84AA268-8029-4545-9F22-2CE1745218C9}" presName="c11" presStyleLbl="node1" presStyleIdx="10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7170879F-378C-4517-918E-306CE14D02DE}" type="pres">
      <dgm:prSet presAssocID="{A84AA268-8029-4545-9F22-2CE1745218C9}" presName="c12" presStyleLbl="node1" presStyleIdx="11" presStyleCnt="19"/>
      <dgm:spPr>
        <a:solidFill>
          <a:srgbClr val="F07B00"/>
        </a:solidFill>
      </dgm:spPr>
      <dgm:t>
        <a:bodyPr/>
        <a:lstStyle/>
        <a:p>
          <a:endParaRPr lang="en-US"/>
        </a:p>
      </dgm:t>
    </dgm:pt>
    <dgm:pt modelId="{A6D2EA9A-E22E-48E0-8B9B-4AF1D09BCB37}" type="pres">
      <dgm:prSet presAssocID="{A84AA268-8029-4545-9F22-2CE1745218C9}" presName="c13" presStyleLbl="node1" presStyleIdx="12" presStyleCnt="19"/>
      <dgm:spPr>
        <a:solidFill>
          <a:srgbClr val="7AA6C5"/>
        </a:solidFill>
      </dgm:spPr>
      <dgm:t>
        <a:bodyPr/>
        <a:lstStyle/>
        <a:p>
          <a:endParaRPr lang="en-US"/>
        </a:p>
      </dgm:t>
    </dgm:pt>
    <dgm:pt modelId="{A6AD5AA8-24DD-44BA-8ECF-3DAB4AAACAFE}" type="pres">
      <dgm:prSet presAssocID="{A84AA268-8029-4545-9F22-2CE1745218C9}" presName="c14" presStyleLbl="node1" presStyleIdx="13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D4ED2031-AA91-4F97-B4D2-1550E6F9C9F0}" type="pres">
      <dgm:prSet presAssocID="{A84AA268-8029-4545-9F22-2CE1745218C9}" presName="c15" presStyleLbl="node1" presStyleIdx="14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F1D86303-914C-41BF-8240-8884EF702B70}" type="pres">
      <dgm:prSet presAssocID="{A84AA268-8029-4545-9F22-2CE1745218C9}" presName="c16" presStyleLbl="node1" presStyleIdx="15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4E217E83-B60C-4A44-A2DE-3D5C16C446EB}" type="pres">
      <dgm:prSet presAssocID="{A84AA268-8029-4545-9F22-2CE1745218C9}" presName="c17" presStyleLbl="node1" presStyleIdx="16" presStyleCnt="19"/>
      <dgm:spPr>
        <a:solidFill>
          <a:srgbClr val="F07B00"/>
        </a:solidFill>
      </dgm:spPr>
      <dgm:t>
        <a:bodyPr/>
        <a:lstStyle/>
        <a:p>
          <a:endParaRPr lang="en-US"/>
        </a:p>
      </dgm:t>
    </dgm:pt>
    <dgm:pt modelId="{52C83B22-9B51-46E5-8B07-6811F94304B9}" type="pres">
      <dgm:prSet presAssocID="{A84AA268-8029-4545-9F22-2CE1745218C9}" presName="c18" presStyleLbl="node1" presStyleIdx="17" presStyleCnt="19"/>
      <dgm:spPr>
        <a:solidFill>
          <a:srgbClr val="658D1B"/>
        </a:solidFill>
      </dgm:spPr>
      <dgm:t>
        <a:bodyPr/>
        <a:lstStyle/>
        <a:p>
          <a:endParaRPr lang="en-US"/>
        </a:p>
      </dgm:t>
    </dgm:pt>
    <dgm:pt modelId="{251734C9-ACEA-490B-9AF9-C07F43090412}" type="pres">
      <dgm:prSet presAssocID="{E836C4B5-68DD-48D3-A03C-D4197B917EDF}" presName="chevronComposite1" presStyleCnt="0"/>
      <dgm:spPr/>
    </dgm:pt>
    <dgm:pt modelId="{B70388B0-F00F-414F-8B85-0676A7AC56AC}" type="pres">
      <dgm:prSet presAssocID="{E836C4B5-68DD-48D3-A03C-D4197B917EDF}" presName="chevron1" presStyleLbl="sibTrans2D1" presStyleIdx="0" presStyleCnt="2"/>
      <dgm:spPr>
        <a:solidFill>
          <a:srgbClr val="E1D555"/>
        </a:solidFill>
      </dgm:spPr>
      <dgm:t>
        <a:bodyPr/>
        <a:lstStyle/>
        <a:p>
          <a:endParaRPr lang="en-US"/>
        </a:p>
      </dgm:t>
    </dgm:pt>
    <dgm:pt modelId="{FE4466A7-B64D-4BE3-BF42-3E8B745D5E54}" type="pres">
      <dgm:prSet presAssocID="{E836C4B5-68DD-48D3-A03C-D4197B917EDF}" presName="spChevron1" presStyleCnt="0"/>
      <dgm:spPr/>
    </dgm:pt>
    <dgm:pt modelId="{76860442-E772-4027-8201-196BB2AC8945}" type="pres">
      <dgm:prSet presAssocID="{E836C4B5-68DD-48D3-A03C-D4197B917EDF}" presName="overlap" presStyleCnt="0"/>
      <dgm:spPr/>
    </dgm:pt>
    <dgm:pt modelId="{07319B3B-8661-4B20-9F63-5A5B0146B489}" type="pres">
      <dgm:prSet presAssocID="{E836C4B5-68DD-48D3-A03C-D4197B917EDF}" presName="chevronComposite2" presStyleCnt="0"/>
      <dgm:spPr/>
    </dgm:pt>
    <dgm:pt modelId="{42879B49-6277-4FF0-801D-1CC4C9D00978}" type="pres">
      <dgm:prSet presAssocID="{E836C4B5-68DD-48D3-A03C-D4197B917EDF}" presName="chevron2" presStyleLbl="sibTrans2D1" presStyleIdx="1" presStyleCnt="2"/>
      <dgm:spPr>
        <a:solidFill>
          <a:srgbClr val="E1D555"/>
        </a:solidFill>
      </dgm:spPr>
      <dgm:t>
        <a:bodyPr/>
        <a:lstStyle/>
        <a:p>
          <a:endParaRPr lang="en-US"/>
        </a:p>
      </dgm:t>
    </dgm:pt>
    <dgm:pt modelId="{BF460583-89B5-432E-A1B9-D815C77E84B1}" type="pres">
      <dgm:prSet presAssocID="{E836C4B5-68DD-48D3-A03C-D4197B917EDF}" presName="spChevron2" presStyleCnt="0"/>
      <dgm:spPr/>
    </dgm:pt>
    <dgm:pt modelId="{F78821BB-AF11-4943-BBBC-C40AACD9D6FA}" type="pres">
      <dgm:prSet presAssocID="{86FC5F89-3A1C-402D-BA5D-629B844CC739}" presName="last" presStyleCnt="0"/>
      <dgm:spPr/>
    </dgm:pt>
    <dgm:pt modelId="{90BA8730-FBDA-4353-822B-E97044BC173D}" type="pres">
      <dgm:prSet presAssocID="{86FC5F89-3A1C-402D-BA5D-629B844CC739}" presName="circleTx" presStyleLbl="node1" presStyleIdx="18" presStyleCnt="19" custLinFactNeighborX="-547" custLinFactNeighborY="-30"/>
      <dgm:spPr/>
      <dgm:t>
        <a:bodyPr/>
        <a:lstStyle/>
        <a:p>
          <a:endParaRPr lang="en-US"/>
        </a:p>
      </dgm:t>
    </dgm:pt>
    <dgm:pt modelId="{BD39F29E-B1B2-44EF-91CD-5203CF50853B}" type="pres">
      <dgm:prSet presAssocID="{86FC5F89-3A1C-402D-BA5D-629B844CC739}" presName="desTxN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50F4D0-0285-4D76-B11C-D3D7E68E85C3}" type="pres">
      <dgm:prSet presAssocID="{86FC5F89-3A1C-402D-BA5D-629B844CC739}" presName="spN" presStyleCnt="0"/>
      <dgm:spPr/>
    </dgm:pt>
  </dgm:ptLst>
  <dgm:cxnLst>
    <dgm:cxn modelId="{766CF6EE-4CCB-D946-ABB0-F6938AF35373}" type="presOf" srcId="{210DBD21-D2A7-49DC-9D12-D2D14FE41841}" destId="{63851D03-3289-4DEF-B149-BB10EF6C48D6}" srcOrd="0" destOrd="0" presId="urn:microsoft.com/office/officeart/2009/3/layout/RandomtoResultProcess"/>
    <dgm:cxn modelId="{C711AF7E-C41B-7F47-A281-27248B57F120}" type="presOf" srcId="{918FD688-E058-448E-9ED2-D94999E57F5F}" destId="{415BACFF-62A1-43AD-90F6-38CAB11202BC}" srcOrd="0" destOrd="0" presId="urn:microsoft.com/office/officeart/2009/3/layout/RandomtoResultProcess"/>
    <dgm:cxn modelId="{9B280E5D-CD17-DE46-A684-A0921E7C4B28}" type="presOf" srcId="{86FC5F89-3A1C-402D-BA5D-629B844CC739}" destId="{90BA8730-FBDA-4353-822B-E97044BC173D}" srcOrd="0" destOrd="0" presId="urn:microsoft.com/office/officeart/2009/3/layout/RandomtoResultProcess"/>
    <dgm:cxn modelId="{A40EA135-C824-4F3D-8952-6B7A9AC6999A}" srcId="{86FC5F89-3A1C-402D-BA5D-629B844CC739}" destId="{CC455C38-CB54-4274-8A9F-3199C0A550F3}" srcOrd="0" destOrd="0" parTransId="{5954971D-0527-4571-8F36-49DB68755723}" sibTransId="{732969CC-8E20-4DDD-BA2A-7C3650F48A32}"/>
    <dgm:cxn modelId="{F4DBCCAE-DDE4-4531-AA4A-41ADC1CD4718}" srcId="{A84AA268-8029-4545-9F22-2CE1745218C9}" destId="{210DBD21-D2A7-49DC-9D12-D2D14FE41841}" srcOrd="0" destOrd="0" parTransId="{422CE3C5-FD13-4DA4-8662-1D968E44C823}" sibTransId="{E5682E1E-D0A7-47EF-A2C0-602046B19FBB}"/>
    <dgm:cxn modelId="{FCD0570B-0023-409F-A12F-2A4A41DBB16A}" srcId="{918FD688-E058-448E-9ED2-D94999E57F5F}" destId="{A84AA268-8029-4545-9F22-2CE1745218C9}" srcOrd="0" destOrd="0" parTransId="{6745103A-ECC9-4868-A0DC-5D75CFC5F650}" sibTransId="{E836C4B5-68DD-48D3-A03C-D4197B917EDF}"/>
    <dgm:cxn modelId="{D773E61E-67A0-894B-B906-55EA0F4307BA}" type="presOf" srcId="{A84AA268-8029-4545-9F22-2CE1745218C9}" destId="{3D93AF45-04C1-4F3A-BA5C-0AC5A605F431}" srcOrd="0" destOrd="0" presId="urn:microsoft.com/office/officeart/2009/3/layout/RandomtoResultProcess"/>
    <dgm:cxn modelId="{2D6B3F87-482D-483E-A77F-711C888E5BCF}" srcId="{918FD688-E058-448E-9ED2-D94999E57F5F}" destId="{86FC5F89-3A1C-402D-BA5D-629B844CC739}" srcOrd="1" destOrd="0" parTransId="{3B956E44-951B-4997-8899-2F5E76C17362}" sibTransId="{BF6536D4-F28E-424E-8400-A65C3F4D32E5}"/>
    <dgm:cxn modelId="{D66A1BD9-473C-964F-A535-9072DBC73DFF}" type="presOf" srcId="{CC455C38-CB54-4274-8A9F-3199C0A550F3}" destId="{BD39F29E-B1B2-44EF-91CD-5203CF50853B}" srcOrd="0" destOrd="0" presId="urn:microsoft.com/office/officeart/2009/3/layout/RandomtoResultProcess"/>
    <dgm:cxn modelId="{2EC4668F-9FD2-8F4C-88A0-59D71FCA5FE4}" type="presParOf" srcId="{415BACFF-62A1-43AD-90F6-38CAB11202BC}" destId="{163F2580-F435-43B4-B0FB-3A6D2D72E870}" srcOrd="0" destOrd="0" presId="urn:microsoft.com/office/officeart/2009/3/layout/RandomtoResultProcess"/>
    <dgm:cxn modelId="{17E8D3D1-EF75-FF46-B391-939CF5860926}" type="presParOf" srcId="{163F2580-F435-43B4-B0FB-3A6D2D72E870}" destId="{3D93AF45-04C1-4F3A-BA5C-0AC5A605F431}" srcOrd="0" destOrd="0" presId="urn:microsoft.com/office/officeart/2009/3/layout/RandomtoResultProcess"/>
    <dgm:cxn modelId="{90D4C887-0FB7-0643-AB17-A25167F480CD}" type="presParOf" srcId="{163F2580-F435-43B4-B0FB-3A6D2D72E870}" destId="{63851D03-3289-4DEF-B149-BB10EF6C48D6}" srcOrd="1" destOrd="0" presId="urn:microsoft.com/office/officeart/2009/3/layout/RandomtoResultProcess"/>
    <dgm:cxn modelId="{19E455A6-A8D3-B24D-B079-EF314091BBF9}" type="presParOf" srcId="{163F2580-F435-43B4-B0FB-3A6D2D72E870}" destId="{BA3A74BB-0CDB-491A-9F9E-35E3E2586480}" srcOrd="2" destOrd="0" presId="urn:microsoft.com/office/officeart/2009/3/layout/RandomtoResultProcess"/>
    <dgm:cxn modelId="{F5B358BB-80EC-7D44-8569-C5F838CEDB30}" type="presParOf" srcId="{163F2580-F435-43B4-B0FB-3A6D2D72E870}" destId="{24216E4D-24CB-4BBC-A937-7EEFBF4843A8}" srcOrd="3" destOrd="0" presId="urn:microsoft.com/office/officeart/2009/3/layout/RandomtoResultProcess"/>
    <dgm:cxn modelId="{6C5457F3-4C38-9B4F-8E2A-0724F8E528AD}" type="presParOf" srcId="{163F2580-F435-43B4-B0FB-3A6D2D72E870}" destId="{DF237C18-0C88-4C49-B8FC-E6811F3E7ACB}" srcOrd="4" destOrd="0" presId="urn:microsoft.com/office/officeart/2009/3/layout/RandomtoResultProcess"/>
    <dgm:cxn modelId="{F8E4766A-B261-E04B-9C1E-46AE9D96AA7D}" type="presParOf" srcId="{163F2580-F435-43B4-B0FB-3A6D2D72E870}" destId="{0E709B3D-9CCE-4A7E-95F7-3A83EC51A3A5}" srcOrd="5" destOrd="0" presId="urn:microsoft.com/office/officeart/2009/3/layout/RandomtoResultProcess"/>
    <dgm:cxn modelId="{B65D5B38-378A-A448-9B4F-CC0E16F9BA06}" type="presParOf" srcId="{163F2580-F435-43B4-B0FB-3A6D2D72E870}" destId="{E1CF2108-9EEB-4A30-BF1E-0B3A11D7FA9E}" srcOrd="6" destOrd="0" presId="urn:microsoft.com/office/officeart/2009/3/layout/RandomtoResultProcess"/>
    <dgm:cxn modelId="{BF3A98A9-93B3-7E40-8208-451044D9E546}" type="presParOf" srcId="{163F2580-F435-43B4-B0FB-3A6D2D72E870}" destId="{424F5352-045B-4E73-B267-8E643F7C0C04}" srcOrd="7" destOrd="0" presId="urn:microsoft.com/office/officeart/2009/3/layout/RandomtoResultProcess"/>
    <dgm:cxn modelId="{5A909E5C-76F3-DB41-960B-1E25AA854200}" type="presParOf" srcId="{163F2580-F435-43B4-B0FB-3A6D2D72E870}" destId="{407B81C8-7EDB-46E3-A811-481D002F2CBE}" srcOrd="8" destOrd="0" presId="urn:microsoft.com/office/officeart/2009/3/layout/RandomtoResultProcess"/>
    <dgm:cxn modelId="{2BCD88E4-70FE-DC47-AEBF-F372BE81081F}" type="presParOf" srcId="{163F2580-F435-43B4-B0FB-3A6D2D72E870}" destId="{F39A24EA-B1AC-4451-941D-86CE6BA1C7AF}" srcOrd="9" destOrd="0" presId="urn:microsoft.com/office/officeart/2009/3/layout/RandomtoResultProcess"/>
    <dgm:cxn modelId="{77593315-FBA4-824B-8D30-FFD718809949}" type="presParOf" srcId="{163F2580-F435-43B4-B0FB-3A6D2D72E870}" destId="{34BE84F6-F6E1-4534-92B2-A6EEA2CE6460}" srcOrd="10" destOrd="0" presId="urn:microsoft.com/office/officeart/2009/3/layout/RandomtoResultProcess"/>
    <dgm:cxn modelId="{6B809C5C-DBF6-3A40-8537-C0B203810D7B}" type="presParOf" srcId="{163F2580-F435-43B4-B0FB-3A6D2D72E870}" destId="{478C8E5D-3A9F-448C-9AC3-8522DAE3A159}" srcOrd="11" destOrd="0" presId="urn:microsoft.com/office/officeart/2009/3/layout/RandomtoResultProcess"/>
    <dgm:cxn modelId="{3E49D000-3A9C-1F4C-8A0C-FBFD834168EB}" type="presParOf" srcId="{163F2580-F435-43B4-B0FB-3A6D2D72E870}" destId="{A54D869F-AD83-4C6A-9825-AF67BF92F689}" srcOrd="12" destOrd="0" presId="urn:microsoft.com/office/officeart/2009/3/layout/RandomtoResultProcess"/>
    <dgm:cxn modelId="{20A7F76D-9ECA-5340-8CEE-DDF2C9AA53D4}" type="presParOf" srcId="{163F2580-F435-43B4-B0FB-3A6D2D72E870}" destId="{7170879F-378C-4517-918E-306CE14D02DE}" srcOrd="13" destOrd="0" presId="urn:microsoft.com/office/officeart/2009/3/layout/RandomtoResultProcess"/>
    <dgm:cxn modelId="{E8418279-F2EE-014E-A1B7-012A744B7DF2}" type="presParOf" srcId="{163F2580-F435-43B4-B0FB-3A6D2D72E870}" destId="{A6D2EA9A-E22E-48E0-8B9B-4AF1D09BCB37}" srcOrd="14" destOrd="0" presId="urn:microsoft.com/office/officeart/2009/3/layout/RandomtoResultProcess"/>
    <dgm:cxn modelId="{A984F674-6CD1-1E4F-859C-89410A87A894}" type="presParOf" srcId="{163F2580-F435-43B4-B0FB-3A6D2D72E870}" destId="{A6AD5AA8-24DD-44BA-8ECF-3DAB4AAACAFE}" srcOrd="15" destOrd="0" presId="urn:microsoft.com/office/officeart/2009/3/layout/RandomtoResultProcess"/>
    <dgm:cxn modelId="{B46B63AE-1761-5944-8D24-4ED7C65A2C09}" type="presParOf" srcId="{163F2580-F435-43B4-B0FB-3A6D2D72E870}" destId="{D4ED2031-AA91-4F97-B4D2-1550E6F9C9F0}" srcOrd="16" destOrd="0" presId="urn:microsoft.com/office/officeart/2009/3/layout/RandomtoResultProcess"/>
    <dgm:cxn modelId="{BC5B0049-7A0C-1749-AA96-ABBA39CFF69D}" type="presParOf" srcId="{163F2580-F435-43B4-B0FB-3A6D2D72E870}" destId="{F1D86303-914C-41BF-8240-8884EF702B70}" srcOrd="17" destOrd="0" presId="urn:microsoft.com/office/officeart/2009/3/layout/RandomtoResultProcess"/>
    <dgm:cxn modelId="{D543A21A-75ED-1542-A466-91AAE3CBF68A}" type="presParOf" srcId="{163F2580-F435-43B4-B0FB-3A6D2D72E870}" destId="{4E217E83-B60C-4A44-A2DE-3D5C16C446EB}" srcOrd="18" destOrd="0" presId="urn:microsoft.com/office/officeart/2009/3/layout/RandomtoResultProcess"/>
    <dgm:cxn modelId="{860FCF43-4377-064C-BE31-B8066D2861AA}" type="presParOf" srcId="{163F2580-F435-43B4-B0FB-3A6D2D72E870}" destId="{52C83B22-9B51-46E5-8B07-6811F94304B9}" srcOrd="19" destOrd="0" presId="urn:microsoft.com/office/officeart/2009/3/layout/RandomtoResultProcess"/>
    <dgm:cxn modelId="{BEC3779B-8675-904C-B757-4B49BAFD5AF9}" type="presParOf" srcId="{415BACFF-62A1-43AD-90F6-38CAB11202BC}" destId="{251734C9-ACEA-490B-9AF9-C07F43090412}" srcOrd="1" destOrd="0" presId="urn:microsoft.com/office/officeart/2009/3/layout/RandomtoResultProcess"/>
    <dgm:cxn modelId="{D9A4D1EE-1B9E-7F40-96F8-4D48243B7D1E}" type="presParOf" srcId="{251734C9-ACEA-490B-9AF9-C07F43090412}" destId="{B70388B0-F00F-414F-8B85-0676A7AC56AC}" srcOrd="0" destOrd="0" presId="urn:microsoft.com/office/officeart/2009/3/layout/RandomtoResultProcess"/>
    <dgm:cxn modelId="{97BBCA84-7B6D-F840-A698-D1F1D899B714}" type="presParOf" srcId="{251734C9-ACEA-490B-9AF9-C07F43090412}" destId="{FE4466A7-B64D-4BE3-BF42-3E8B745D5E54}" srcOrd="1" destOrd="0" presId="urn:microsoft.com/office/officeart/2009/3/layout/RandomtoResultProcess"/>
    <dgm:cxn modelId="{9357CAE3-D9A9-DD4C-9E03-E1C027E25FB2}" type="presParOf" srcId="{415BACFF-62A1-43AD-90F6-38CAB11202BC}" destId="{76860442-E772-4027-8201-196BB2AC8945}" srcOrd="2" destOrd="0" presId="urn:microsoft.com/office/officeart/2009/3/layout/RandomtoResultProcess"/>
    <dgm:cxn modelId="{A1E5203A-0D1F-7C48-9EFE-D307ED989921}" type="presParOf" srcId="{415BACFF-62A1-43AD-90F6-38CAB11202BC}" destId="{07319B3B-8661-4B20-9F63-5A5B0146B489}" srcOrd="3" destOrd="0" presId="urn:microsoft.com/office/officeart/2009/3/layout/RandomtoResultProcess"/>
    <dgm:cxn modelId="{0392282B-F079-624D-8A19-5AD8017F22BD}" type="presParOf" srcId="{07319B3B-8661-4B20-9F63-5A5B0146B489}" destId="{42879B49-6277-4FF0-801D-1CC4C9D00978}" srcOrd="0" destOrd="0" presId="urn:microsoft.com/office/officeart/2009/3/layout/RandomtoResultProcess"/>
    <dgm:cxn modelId="{1E50DDED-4FA1-AC43-8E95-4AA977929BED}" type="presParOf" srcId="{07319B3B-8661-4B20-9F63-5A5B0146B489}" destId="{BF460583-89B5-432E-A1B9-D815C77E84B1}" srcOrd="1" destOrd="0" presId="urn:microsoft.com/office/officeart/2009/3/layout/RandomtoResultProcess"/>
    <dgm:cxn modelId="{B399DED7-48A9-484E-9938-519DDC8F005F}" type="presParOf" srcId="{415BACFF-62A1-43AD-90F6-38CAB11202BC}" destId="{F78821BB-AF11-4943-BBBC-C40AACD9D6FA}" srcOrd="4" destOrd="0" presId="urn:microsoft.com/office/officeart/2009/3/layout/RandomtoResultProcess"/>
    <dgm:cxn modelId="{4A14D693-A5DB-C644-AB39-E111D5AD2E31}" type="presParOf" srcId="{F78821BB-AF11-4943-BBBC-C40AACD9D6FA}" destId="{90BA8730-FBDA-4353-822B-E97044BC173D}" srcOrd="0" destOrd="0" presId="urn:microsoft.com/office/officeart/2009/3/layout/RandomtoResultProcess"/>
    <dgm:cxn modelId="{F8EEF82C-36DE-6840-81ED-0F62F2FDA5C5}" type="presParOf" srcId="{F78821BB-AF11-4943-BBBC-C40AACD9D6FA}" destId="{BD39F29E-B1B2-44EF-91CD-5203CF50853B}" srcOrd="1" destOrd="0" presId="urn:microsoft.com/office/officeart/2009/3/layout/RandomtoResultProcess"/>
    <dgm:cxn modelId="{3C8E0151-32E9-CE4F-BC4F-CFFE6628E673}" type="presParOf" srcId="{F78821BB-AF11-4943-BBBC-C40AACD9D6FA}" destId="{C350F4D0-0285-4D76-B11C-D3D7E68E85C3}" srcOrd="2" destOrd="0" presId="urn:microsoft.com/office/officeart/2009/3/layout/RandomtoResult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93AF45-04C1-4F3A-BA5C-0AC5A605F431}">
      <dsp:nvSpPr>
        <dsp:cNvPr id="0" name=""/>
        <dsp:cNvSpPr/>
      </dsp:nvSpPr>
      <dsp:spPr>
        <a:xfrm>
          <a:off x="489626" y="929278"/>
          <a:ext cx="2607669" cy="859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b="0" i="0" kern="1200" dirty="0" smtClean="0">
              <a:solidFill>
                <a:schemeClr val="accent3"/>
              </a:solidFill>
              <a:latin typeface="Calibri" charset="0"/>
              <a:ea typeface="Calibri" charset="0"/>
              <a:cs typeface="Calibri" charset="0"/>
            </a:rPr>
            <a:t>Programs</a:t>
          </a:r>
          <a:endParaRPr lang="en-US" sz="3600" b="0" i="0" kern="1200" dirty="0">
            <a:solidFill>
              <a:schemeClr val="accent3"/>
            </a:solidFill>
            <a:latin typeface="Calibri" charset="0"/>
            <a:ea typeface="Calibri" charset="0"/>
            <a:cs typeface="Calibri" charset="0"/>
          </a:endParaRPr>
        </a:p>
      </dsp:txBody>
      <dsp:txXfrm>
        <a:off x="489626" y="929278"/>
        <a:ext cx="2607669" cy="859345"/>
      </dsp:txXfrm>
    </dsp:sp>
    <dsp:sp modelId="{63851D03-3289-4DEF-B149-BB10EF6C48D6}">
      <dsp:nvSpPr>
        <dsp:cNvPr id="0" name=""/>
        <dsp:cNvSpPr/>
      </dsp:nvSpPr>
      <dsp:spPr>
        <a:xfrm>
          <a:off x="489626" y="2741342"/>
          <a:ext cx="2607669" cy="1609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i="0" kern="1200" dirty="0" smtClean="0">
              <a:solidFill>
                <a:srgbClr val="F07B00"/>
              </a:solidFill>
              <a:latin typeface="Calibri" charset="0"/>
              <a:ea typeface="Calibri" charset="0"/>
              <a:cs typeface="Calibri" charset="0"/>
            </a:rPr>
            <a:t>Prior: </a:t>
          </a:r>
          <a:r>
            <a:rPr lang="en-US" sz="2200" b="0" i="0" kern="1200" dirty="0" smtClean="0">
              <a:latin typeface="Calibri" charset="0"/>
              <a:ea typeface="Calibri" charset="0"/>
              <a:cs typeface="Calibri" charset="0"/>
            </a:rPr>
            <a:t>Diverse group of independent providers using lots of methods to achieve various goals</a:t>
          </a:r>
          <a:endParaRPr lang="en-US" sz="2200" b="0" i="0" kern="1200" dirty="0">
            <a:latin typeface="Calibri" charset="0"/>
            <a:ea typeface="Calibri" charset="0"/>
            <a:cs typeface="Calibri" charset="0"/>
          </a:endParaRPr>
        </a:p>
      </dsp:txBody>
      <dsp:txXfrm>
        <a:off x="489626" y="2741342"/>
        <a:ext cx="2607669" cy="1609995"/>
      </dsp:txXfrm>
    </dsp:sp>
    <dsp:sp modelId="{BA3A74BB-0CDB-491A-9F9E-35E3E2586480}">
      <dsp:nvSpPr>
        <dsp:cNvPr id="0" name=""/>
        <dsp:cNvSpPr/>
      </dsp:nvSpPr>
      <dsp:spPr>
        <a:xfrm>
          <a:off x="486663" y="667919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216E4D-24CB-4BBC-A937-7EEFBF4843A8}">
      <dsp:nvSpPr>
        <dsp:cNvPr id="0" name=""/>
        <dsp:cNvSpPr/>
      </dsp:nvSpPr>
      <dsp:spPr>
        <a:xfrm>
          <a:off x="631862" y="377519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237C18-0C88-4C49-B8FC-E6811F3E7ACB}">
      <dsp:nvSpPr>
        <dsp:cNvPr id="0" name=""/>
        <dsp:cNvSpPr/>
      </dsp:nvSpPr>
      <dsp:spPr>
        <a:xfrm>
          <a:off x="980342" y="435599"/>
          <a:ext cx="325958" cy="32595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709B3D-9CCE-4A7E-95F7-3A83EC51A3A5}">
      <dsp:nvSpPr>
        <dsp:cNvPr id="0" name=""/>
        <dsp:cNvSpPr/>
      </dsp:nvSpPr>
      <dsp:spPr>
        <a:xfrm>
          <a:off x="1270742" y="116159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CF2108-9EEB-4A30-BF1E-0B3A11D7FA9E}">
      <dsp:nvSpPr>
        <dsp:cNvPr id="0" name=""/>
        <dsp:cNvSpPr/>
      </dsp:nvSpPr>
      <dsp:spPr>
        <a:xfrm>
          <a:off x="1648261" y="0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4F5352-045B-4E73-B267-8E643F7C0C04}">
      <dsp:nvSpPr>
        <dsp:cNvPr id="0" name=""/>
        <dsp:cNvSpPr/>
      </dsp:nvSpPr>
      <dsp:spPr>
        <a:xfrm>
          <a:off x="2112900" y="203279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7B81C8-7EDB-46E3-A811-481D002F2CBE}">
      <dsp:nvSpPr>
        <dsp:cNvPr id="0" name=""/>
        <dsp:cNvSpPr/>
      </dsp:nvSpPr>
      <dsp:spPr>
        <a:xfrm>
          <a:off x="2403300" y="348479"/>
          <a:ext cx="325958" cy="325958"/>
        </a:xfrm>
        <a:prstGeom prst="ellipse">
          <a:avLst/>
        </a:prstGeom>
        <a:solidFill>
          <a:srgbClr val="F07B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9A24EA-B1AC-4451-941D-86CE6BA1C7AF}">
      <dsp:nvSpPr>
        <dsp:cNvPr id="0" name=""/>
        <dsp:cNvSpPr/>
      </dsp:nvSpPr>
      <dsp:spPr>
        <a:xfrm>
          <a:off x="2809859" y="667919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BE84F6-F6E1-4534-92B2-A6EEA2CE6460}">
      <dsp:nvSpPr>
        <dsp:cNvPr id="0" name=""/>
        <dsp:cNvSpPr/>
      </dsp:nvSpPr>
      <dsp:spPr>
        <a:xfrm>
          <a:off x="2984099" y="987358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8C8E5D-3A9F-448C-9AC3-8522DAE3A159}">
      <dsp:nvSpPr>
        <dsp:cNvPr id="0" name=""/>
        <dsp:cNvSpPr/>
      </dsp:nvSpPr>
      <dsp:spPr>
        <a:xfrm>
          <a:off x="1504963" y="381002"/>
          <a:ext cx="533387" cy="533387"/>
        </a:xfrm>
        <a:prstGeom prst="ellipse">
          <a:avLst/>
        </a:prstGeom>
        <a:solidFill>
          <a:srgbClr val="7AA6C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4D869F-AD83-4C6A-9825-AF67BF92F689}">
      <dsp:nvSpPr>
        <dsp:cNvPr id="0" name=""/>
        <dsp:cNvSpPr/>
      </dsp:nvSpPr>
      <dsp:spPr>
        <a:xfrm>
          <a:off x="341463" y="1481037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70879F-378C-4517-918E-306CE14D02DE}">
      <dsp:nvSpPr>
        <dsp:cNvPr id="0" name=""/>
        <dsp:cNvSpPr/>
      </dsp:nvSpPr>
      <dsp:spPr>
        <a:xfrm>
          <a:off x="515703" y="1742397"/>
          <a:ext cx="325958" cy="325958"/>
        </a:xfrm>
        <a:prstGeom prst="ellipse">
          <a:avLst/>
        </a:prstGeom>
        <a:solidFill>
          <a:srgbClr val="F07B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D2EA9A-E22E-48E0-8B9B-4AF1D09BCB37}">
      <dsp:nvSpPr>
        <dsp:cNvPr id="0" name=""/>
        <dsp:cNvSpPr/>
      </dsp:nvSpPr>
      <dsp:spPr>
        <a:xfrm>
          <a:off x="951302" y="1974717"/>
          <a:ext cx="474121" cy="474121"/>
        </a:xfrm>
        <a:prstGeom prst="ellipse">
          <a:avLst/>
        </a:prstGeom>
        <a:solidFill>
          <a:srgbClr val="7AA6C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AD5AA8-24DD-44BA-8ECF-3DAB4AAACAFE}">
      <dsp:nvSpPr>
        <dsp:cNvPr id="0" name=""/>
        <dsp:cNvSpPr/>
      </dsp:nvSpPr>
      <dsp:spPr>
        <a:xfrm>
          <a:off x="1561141" y="2352236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ED2031-AA91-4F97-B4D2-1550E6F9C9F0}">
      <dsp:nvSpPr>
        <dsp:cNvPr id="0" name=""/>
        <dsp:cNvSpPr/>
      </dsp:nvSpPr>
      <dsp:spPr>
        <a:xfrm>
          <a:off x="1677301" y="1974717"/>
          <a:ext cx="325958" cy="32595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D86303-914C-41BF-8240-8884EF702B70}">
      <dsp:nvSpPr>
        <dsp:cNvPr id="0" name=""/>
        <dsp:cNvSpPr/>
      </dsp:nvSpPr>
      <dsp:spPr>
        <a:xfrm>
          <a:off x="1967701" y="2381276"/>
          <a:ext cx="207428" cy="20742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217E83-B60C-4A44-A2DE-3D5C16C446EB}">
      <dsp:nvSpPr>
        <dsp:cNvPr id="0" name=""/>
        <dsp:cNvSpPr/>
      </dsp:nvSpPr>
      <dsp:spPr>
        <a:xfrm>
          <a:off x="2229060" y="1916637"/>
          <a:ext cx="474121" cy="474121"/>
        </a:xfrm>
        <a:prstGeom prst="ellipse">
          <a:avLst/>
        </a:prstGeom>
        <a:solidFill>
          <a:srgbClr val="F07B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C83B22-9B51-46E5-8B07-6811F94304B9}">
      <dsp:nvSpPr>
        <dsp:cNvPr id="0" name=""/>
        <dsp:cNvSpPr/>
      </dsp:nvSpPr>
      <dsp:spPr>
        <a:xfrm>
          <a:off x="2867939" y="1800477"/>
          <a:ext cx="325958" cy="325958"/>
        </a:xfrm>
        <a:prstGeom prst="ellipse">
          <a:avLst/>
        </a:prstGeom>
        <a:solidFill>
          <a:srgbClr val="658D1B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0388B0-F00F-414F-8B85-0676A7AC56AC}">
      <dsp:nvSpPr>
        <dsp:cNvPr id="0" name=""/>
        <dsp:cNvSpPr/>
      </dsp:nvSpPr>
      <dsp:spPr>
        <a:xfrm>
          <a:off x="3193898" y="435116"/>
          <a:ext cx="957294" cy="1827579"/>
        </a:xfrm>
        <a:prstGeom prst="chevron">
          <a:avLst>
            <a:gd name="adj" fmla="val 62310"/>
          </a:avLst>
        </a:prstGeom>
        <a:solidFill>
          <a:srgbClr val="E1D55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879B49-6277-4FF0-801D-1CC4C9D00978}">
      <dsp:nvSpPr>
        <dsp:cNvPr id="0" name=""/>
        <dsp:cNvSpPr/>
      </dsp:nvSpPr>
      <dsp:spPr>
        <a:xfrm>
          <a:off x="3977139" y="435116"/>
          <a:ext cx="957294" cy="1827579"/>
        </a:xfrm>
        <a:prstGeom prst="chevron">
          <a:avLst>
            <a:gd name="adj" fmla="val 62310"/>
          </a:avLst>
        </a:prstGeom>
        <a:solidFill>
          <a:srgbClr val="E1D55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BA8730-FBDA-4353-822B-E97044BC173D}">
      <dsp:nvSpPr>
        <dsp:cNvPr id="0" name=""/>
        <dsp:cNvSpPr/>
      </dsp:nvSpPr>
      <dsp:spPr>
        <a:xfrm>
          <a:off x="5118105" y="304798"/>
          <a:ext cx="2219182" cy="2219182"/>
        </a:xfrm>
        <a:prstGeom prst="ellipse">
          <a:avLst/>
        </a:prstGeom>
        <a:solidFill>
          <a:srgbClr val="7AA6C5"/>
        </a:solidFill>
        <a:ln w="5715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i="0" kern="1200" dirty="0" smtClean="0">
              <a:latin typeface="Calibri" charset="0"/>
              <a:ea typeface="Calibri" charset="0"/>
              <a:cs typeface="Calibri" charset="0"/>
            </a:rPr>
            <a:t>Crisis response system</a:t>
          </a:r>
          <a:endParaRPr lang="en-US" sz="2800" b="0" i="0" kern="1200" dirty="0">
            <a:latin typeface="Calibri" charset="0"/>
            <a:ea typeface="Calibri" charset="0"/>
            <a:cs typeface="Calibri" charset="0"/>
          </a:endParaRPr>
        </a:p>
      </dsp:txBody>
      <dsp:txXfrm>
        <a:off x="5443097" y="629790"/>
        <a:ext cx="1569198" cy="1569198"/>
      </dsp:txXfrm>
    </dsp:sp>
    <dsp:sp modelId="{BD39F29E-B1B2-44EF-91CD-5203CF50853B}">
      <dsp:nvSpPr>
        <dsp:cNvPr id="0" name=""/>
        <dsp:cNvSpPr/>
      </dsp:nvSpPr>
      <dsp:spPr>
        <a:xfrm>
          <a:off x="4934433" y="2741342"/>
          <a:ext cx="2610802" cy="1609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i="0" kern="1200" dirty="0" smtClean="0">
              <a:solidFill>
                <a:srgbClr val="F07B00"/>
              </a:solidFill>
              <a:latin typeface="Calibri" charset="0"/>
              <a:ea typeface="Calibri" charset="0"/>
              <a:cs typeface="Calibri" charset="0"/>
            </a:rPr>
            <a:t>Vision: </a:t>
          </a:r>
          <a:r>
            <a:rPr lang="en-US" sz="2200" b="0" i="0" kern="1200" dirty="0" smtClean="0">
              <a:solidFill>
                <a:schemeClr val="tx1"/>
              </a:solidFill>
              <a:latin typeface="Calibri" charset="0"/>
              <a:ea typeface="Calibri" charset="0"/>
              <a:cs typeface="Calibri" charset="0"/>
            </a:rPr>
            <a:t>A</a:t>
          </a:r>
          <a:r>
            <a:rPr lang="en-US" sz="2200" b="0" i="0" kern="1200" dirty="0" smtClean="0">
              <a:latin typeface="Calibri" charset="0"/>
              <a:ea typeface="Calibri" charset="0"/>
              <a:cs typeface="Calibri" charset="0"/>
            </a:rPr>
            <a:t> collective network of providers aligning coordinated efforts and resources to maximize impact</a:t>
          </a:r>
          <a:endParaRPr lang="en-US" sz="2200" b="0" i="0" kern="1200" dirty="0">
            <a:latin typeface="Calibri" charset="0"/>
            <a:ea typeface="Calibri" charset="0"/>
            <a:cs typeface="Calibri" charset="0"/>
          </a:endParaRPr>
        </a:p>
      </dsp:txBody>
      <dsp:txXfrm>
        <a:off x="4934433" y="2741342"/>
        <a:ext cx="2610802" cy="16099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RandomtoResultProcess">
  <dgm:title val=""/>
  <dgm:desc val=""/>
  <dgm:catLst>
    <dgm:cat type="process" pri="127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41" srcId="1" destId="11" srcOrd="0" destOrd="0"/>
        <dgm:cxn modelId="5" srcId="0" destId="2" srcOrd="0" destOrd="0"/>
        <dgm:cxn modelId="51" srcId="2" destId="2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Name0">
    <dgm:varLst>
      <dgm:dir/>
      <dgm:animOne val="branch"/>
      <dgm:animLvl val="lvl"/>
    </dgm:varLst>
    <dgm:choose name="Name1">
      <dgm:if name="Name2" func="var" arg="dir" op="equ" val="norm">
        <dgm:alg type="lin">
          <dgm:param type="fallback" val="2D"/>
          <dgm:param type="nodeVertAlign" val="t"/>
        </dgm:alg>
      </dgm:if>
      <dgm:else name="Name3">
        <dgm:alg type="lin">
          <dgm:param type="fallback" val="2D"/>
          <dgm:param type="nodeVertAlign" val="t"/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userH" refType="h" fact="2"/>
      <dgm:constr type="w" for="ch" forName="chaos" refType="userH" fact="0.681"/>
      <dgm:constr type="h" for="ch" forName="chaos" refType="userH"/>
      <dgm:constr type="w" for="ch" forName="middle" refType="userH" fact="0.6"/>
      <dgm:constr type="h" for="ch" forName="middle" refType="userH"/>
      <dgm:constr type="w" for="ch" forName="last" refType="userH" fact="0.6"/>
      <dgm:constr type="h" for="ch" forName="last" refType="userH"/>
      <dgm:constr type="w" for="ch" forName="chevronComposite1" refType="userH" fact="0.22"/>
      <dgm:constr type="h" for="ch" forName="chevronComposite1" refType="userH" fact="0.52"/>
      <dgm:constr type="w" for="ch" forName="chevronComposite2" refType="userH" fact="0.22"/>
      <dgm:constr type="h" for="ch" forName="chevronComposite2" refType="userH" fact="0.52"/>
      <dgm:constr type="w" for="ch" forName="overlap" refType="userH" fact="-0.04"/>
      <dgm:constr type="h" for="ch" forName="overlap" refType="userH" fact="0.06"/>
      <dgm:constr type="primFontSz" for="des" forName="parTx1" op="equ" val="65"/>
      <dgm:constr type="primFontSz" for="des" forName="parTxMid" refType="primFontSz" refFor="des" refForName="parTx1" op="equ"/>
      <dgm:constr type="primFontSz" for="des" forName="circleTx" refType="primFontSz" refFor="des" refForName="parTx1" op="equ"/>
      <dgm:constr type="primFontSz" for="des" forName="desTx1" op="equ" val="65"/>
      <dgm:constr type="primFontSz" for="des" forName="desTxMid" refType="primFontSz" refFor="des" refForName="desTx1" op="equ"/>
      <dgm:constr type="primFontSz" for="des" forName="desTxN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chaos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parTx1" refType="w" fact="0.5"/>
              <dgm:constr type="t" for="ch" forName="parTx1" refType="w" fact="0.32"/>
              <dgm:constr type="w" for="ch" forName="parTx1" refType="w" fact="0.88"/>
              <dgm:constr type="h" for="ch" forName="parTx1" refType="w" fact="0.29"/>
              <dgm:constr type="ctrX" for="ch" forName="desTx1" refType="w" fact="0.5"/>
              <dgm:constr type="b" for="ch" forName="desTx1" refType="h"/>
              <dgm:constr type="w" for="ch" forName="desTx1" refType="w" fact="0.88"/>
              <dgm:constr type="h" for="ch" forName="desTx1" refType="h" fact="0.37"/>
              <dgm:constr type="l" for="ch" forName="c1" refType="w" fact="0.05"/>
              <dgm:constr type="t" for="ch" forName="c1" refType="w" fact="0.23"/>
              <dgm:constr type="w" for="ch" forName="c1" refType="w" fact="0.07"/>
              <dgm:constr type="h" for="ch" forName="c1" refType="w" refFor="ch" refForName="c1"/>
              <dgm:constr type="l" for="ch" forName="c2" refType="w" fact="0.1"/>
              <dgm:constr type="t" for="ch" forName="c2" refType="w" fact="0.13"/>
              <dgm:constr type="w" for="ch" forName="c2" refType="w" fact="0.07"/>
              <dgm:constr type="h" for="ch" forName="c2" refType="w" refFor="ch" refForName="c2"/>
              <dgm:constr type="l" for="ch" forName="c3" refType="w" fact="0.22"/>
              <dgm:constr type="t" for="ch" forName="c3" refType="w" fact="0.15"/>
              <dgm:constr type="w" for="ch" forName="c3" refType="w" fact="0.11"/>
              <dgm:constr type="h" for="ch" forName="c3" refType="w" refFor="ch" refForName="c3"/>
              <dgm:constr type="l" for="ch" forName="c4" refType="w" fact="0.32"/>
              <dgm:constr type="t" for="ch" forName="c4" refType="w" fact="0.04"/>
              <dgm:constr type="w" for="ch" forName="c4" refType="w" fact="0.07"/>
              <dgm:constr type="h" for="ch" forName="c4" refType="w" refFor="ch" refForName="c4"/>
              <dgm:constr type="l" for="ch" forName="c5" refType="w" fact="0.45"/>
              <dgm:constr type="t" for="ch" forName="c5" refType="w" fact="0"/>
              <dgm:constr type="w" for="ch" forName="c5" refType="w" fact="0.07"/>
              <dgm:constr type="h" for="ch" forName="c5" refType="w" refFor="ch" refForName="c5"/>
              <dgm:constr type="l" for="ch" forName="c6" refType="w" fact="0.61"/>
              <dgm:constr type="t" for="ch" forName="c6" refType="w" fact="0.07"/>
              <dgm:constr type="w" for="ch" forName="c6" refType="w" fact="0.07"/>
              <dgm:constr type="h" for="ch" forName="c6" refType="w" refFor="ch" refForName="c6"/>
              <dgm:constr type="l" for="ch" forName="c7" refType="w" fact="0.71"/>
              <dgm:constr type="t" for="ch" forName="c7" refType="w" fact="0.12"/>
              <dgm:constr type="w" for="ch" forName="c7" refType="w" fact="0.11"/>
              <dgm:constr type="h" for="ch" forName="c7" refType="w" refFor="ch" refForName="c7"/>
              <dgm:constr type="l" for="ch" forName="c8" refType="w" fact="0.85"/>
              <dgm:constr type="t" for="ch" forName="c8" refType="w" fact="0.23"/>
              <dgm:constr type="w" for="ch" forName="c8" refType="w" fact="0.07"/>
              <dgm:constr type="h" for="ch" forName="c8" refType="w" refFor="ch" refForName="c8"/>
              <dgm:constr type="l" for="ch" forName="c9" refType="w" fact="0.91"/>
              <dgm:constr type="t" for="ch" forName="c9" refType="w" fact="0.34"/>
              <dgm:constr type="w" for="ch" forName="c9" refType="w" fact="0.07"/>
              <dgm:constr type="h" for="ch" forName="c9" refType="w" refFor="ch" refForName="c9"/>
              <dgm:constr type="l" for="ch" forName="c10" refType="w" fact="0.39"/>
              <dgm:constr type="t" for="ch" forName="c10" refType="w" fact="0.13"/>
              <dgm:constr type="w" for="ch" forName="c10" refType="w" fact="0.18"/>
              <dgm:constr type="h" for="ch" forName="c10" refType="w" refFor="ch" refForName="c10"/>
              <dgm:constr type="l" for="ch" forName="c11" refType="w" fact="0"/>
              <dgm:constr type="t" for="ch" forName="c11" refType="w" fact="0.51"/>
              <dgm:constr type="w" for="ch" forName="c11" refType="w" fact="0.07"/>
              <dgm:constr type="h" for="ch" forName="c11" refType="w" refFor="ch" refForName="c11"/>
              <dgm:constr type="l" for="ch" forName="c12" refType="w" fact="0.06"/>
              <dgm:constr type="t" for="ch" forName="c12" refType="w" fact="0.6"/>
              <dgm:constr type="w" for="ch" forName="c12" refType="w" fact="0.11"/>
              <dgm:constr type="h" for="ch" forName="c12" refType="w" refFor="ch" refForName="c12"/>
              <dgm:constr type="l" for="ch" forName="c13" refType="w" fact="0.21"/>
              <dgm:constr type="t" for="ch" forName="c13" refType="w" fact="0.68"/>
              <dgm:constr type="w" for="ch" forName="c13" refType="w" fact="0.16"/>
              <dgm:constr type="h" for="ch" forName="c13" refType="w" refFor="ch" refForName="c13"/>
              <dgm:constr type="l" for="ch" forName="c14" refType="w" fact="0.42"/>
              <dgm:constr type="t" for="ch" forName="c14" refType="w" fact="0.81"/>
              <dgm:constr type="w" for="ch" forName="c14" refType="w" fact="0.07"/>
              <dgm:constr type="h" for="ch" forName="c14" refType="w" refFor="ch" refForName="c14"/>
              <dgm:constr type="l" for="ch" forName="c15" refType="w" fact="0.46"/>
              <dgm:constr type="t" for="ch" forName="c15" refType="w" fact="0.68"/>
              <dgm:constr type="w" for="ch" forName="c15" refType="w" fact="0.11"/>
              <dgm:constr type="h" for="ch" forName="c15" refType="w" refFor="ch" refForName="c15"/>
              <dgm:constr type="l" for="ch" forName="c16" refType="w" fact="0.56"/>
              <dgm:constr type="t" for="ch" forName="c16" refType="w" fact="0.82"/>
              <dgm:constr type="w" for="ch" forName="c16" refType="w" fact="0.07"/>
              <dgm:constr type="h" for="ch" forName="c16" refType="w" refFor="ch" refForName="c16"/>
              <dgm:constr type="l" for="ch" forName="c17" refType="w" fact="0.65"/>
              <dgm:constr type="t" for="ch" forName="c17" refType="w" fact="0.66"/>
              <dgm:constr type="w" for="ch" forName="c17" refType="w" fact="0.16"/>
              <dgm:constr type="h" for="ch" forName="c17" refType="w" refFor="ch" refForName="c17"/>
              <dgm:constr type="l" for="ch" forName="c18" refType="w" fact="0.87"/>
              <dgm:constr type="t" for="ch" forName="c18" refType="w" fact="0.62"/>
              <dgm:constr type="w" for="ch" forName="c18" refType="w" fact="0.11"/>
              <dgm:constr type="h" for="ch" forName="c18" refType="w" refFor="ch" refForName="c18"/>
            </dgm:constrLst>
            <dgm:layoutNode name="parTx1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7">
              <dgm:if name="Name8" axis="ch" ptType="node" func="cnt" op="gte" val="1">
                <dgm:layoutNode name="desTx1" styleLbl="revTx">
                  <dgm:varLst>
                    <dgm:bulletEnabled val="1"/>
                  </dgm:varLst>
                  <dgm:choose name="Name9">
                    <dgm:if name="Name10" axis="ch" ptType="node" func="cnt" op="equ" val="1">
                      <dgm:alg type="tx">
                        <dgm:param type="shpTxLTRAlignCh" val="l"/>
                      </dgm:alg>
                    </dgm:if>
                    <dgm:else name="Name11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2"/>
            </dgm:choose>
            <dgm:layoutNode name="c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9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0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1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2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3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4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5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6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7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  <dgm:layoutNode name="c18" styleLbl="node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layoutNode>
        </dgm:if>
        <dgm:if name="Name13" axis="self" ptType="node" func="revPos" op="equ" val="1">
          <dgm:layoutNode name="last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ctrX" for="ch" forName="circleTx" refType="w" fact="0.5"/>
              <dgm:constr type="t" for="ch" forName="circleTx" refType="w" fact="0.117"/>
              <dgm:constr type="w" for="ch" forName="circleTx" refType="h" refFor="ch" refForName="circleTx"/>
              <dgm:constr type="h" for="ch" forName="circleTx" refType="w" fact="0.85"/>
              <dgm:constr type="l" for="ch" forName="desTxN"/>
              <dgm:constr type="b" for="ch" forName="desTxN" refType="h"/>
              <dgm:constr type="w" for="ch" forName="desTxN" refType="w"/>
              <dgm:constr type="h" for="ch" forName="desTxN" refType="h" fact="0.37"/>
              <dgm:constr type="ctrX" for="ch" forName="spN" refType="w" fact="0.5"/>
              <dgm:constr type="t" for="ch" forName="spN"/>
              <dgm:constr type="w" for="ch" forName="spN" refType="w" fact="0.93"/>
              <dgm:constr type="h" for="ch" forName="spN" refType="h" fact="0.01"/>
            </dgm:constrLst>
            <dgm:layoutNode name="circleTx" styleLbl="node1">
              <dgm:alg type="tx"/>
              <dgm:shape xmlns:r="http://schemas.openxmlformats.org/officeDocument/2006/relationships" type="ellipse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  <dgm:choose name="Name14">
              <dgm:if name="Name15" axis="ch" ptType="node" func="cnt" op="gte" val="1">
                <dgm:layoutNode name="desTxN" styleLbl="revTx">
                  <dgm:varLst>
                    <dgm:bulletEnabled val="1"/>
                  </dgm:varLst>
                  <dgm:choose name="Name16">
                    <dgm:if name="Name17" axis="ch" ptType="node" func="cnt" op="equ" val="1">
                      <dgm:alg type="tx">
                        <dgm:param type="shpTxLTRAlignCh" val="l"/>
                      </dgm:alg>
                    </dgm:if>
                    <dgm:else name="Name18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  <dgm:layoutNode name="spN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if>
        <dgm:else name="Name20">
          <dgm:layoutNode name="middl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l" for="ch" forName="parTxMid"/>
              <dgm:constr type="t" for="ch" forName="parTxMid" refType="w" fact="0.167"/>
              <dgm:constr type="w" for="ch" forName="parTxMid" refType="w"/>
              <dgm:constr type="h" for="ch" forName="parTxMid" refType="w" fact="0.7"/>
              <dgm:constr type="l" for="ch" forName="desTxMid"/>
              <dgm:constr type="b" for="ch" forName="desTxMid" refType="h"/>
              <dgm:constr type="w" for="ch" forName="desTxMid" refType="w"/>
              <dgm:constr type="h" for="ch" forName="desTxMid" refType="h" fact="0.37"/>
              <dgm:constr type="ctrX" for="ch" forName="spMid" refType="w" fact="0.5"/>
              <dgm:constr type="t" for="ch" forName="spMid"/>
              <dgm:constr type="w" for="ch" forName="spMid" refType="w" fact="0.01"/>
              <dgm:constr type="h" for="ch" forName="spMid" refType="h" fact="0.01"/>
            </dgm:constrLst>
            <dgm:layoutNode name="parTxMid" styleLbl="revTx">
              <dgm:alg type="tx"/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choose name="Name21">
              <dgm:if name="Name22" axis="ch" ptType="node" func="cnt" op="gte" val="1">
                <dgm:layoutNode name="desTxMid" styleLbl="revTx">
                  <dgm:varLst>
                    <dgm:bulletEnabled val="1"/>
                  </dgm:varLst>
                  <dgm:choose name="Name23">
                    <dgm:if name="Name24" axis="ch" ptType="node" func="cnt" op="equ" val="1">
                      <dgm:alg type="tx">
                        <dgm:param type="shpTxLTRAlignCh" val="l"/>
                      </dgm:alg>
                    </dgm:if>
                    <dgm:else name="Name25">
                      <dgm:alg type="tx">
                        <dgm:param type="shpTxLTRAlignCh" val="l"/>
                        <dgm:param type="stBulletLvl" val="1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</dgm:if>
              <dgm:else name="Name26"/>
            </dgm:choose>
            <dgm:layoutNode name="spMid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layoutNode>
        </dgm:else>
      </dgm:choose>
      <dgm:forEach name="Name27" axis="followSib" ptType="sibTrans" cnt="1">
        <dgm:layoutNode name="chevronComposite1" styleLbl="alignImgPlace1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chevron1"/>
            <dgm:constr type="t" for="ch" forName="chevron1" refType="h" fact="0.1923"/>
            <dgm:constr type="w" for="ch" forName="chevron1" refType="w"/>
            <dgm:constr type="b" for="ch" forName="chevron1" refType="h"/>
            <dgm:constr type="l" for="ch" forName="spChevron1"/>
            <dgm:constr type="t" for="ch" forName="spChevron1"/>
            <dgm:constr type="w" for="ch" forName="spChevron1" refType="w" fact="0.01"/>
            <dgm:constr type="h" for="ch" forName="spChevron1" refType="h" fact="0.01"/>
          </dgm:constrLst>
          <dgm:layoutNode name="chevron1">
            <dgm:alg type="sp"/>
            <dgm:choose name="Name28">
              <dgm:if name="Name29" func="var" arg="dir" op="equ" val="norm">
                <dgm:shape xmlns:r="http://schemas.openxmlformats.org/officeDocument/2006/relationships" type="chevron" r:blip="">
                  <dgm:adjLst>
                    <dgm:adj idx="1" val="0.6231"/>
                  </dgm:adjLst>
                </dgm:shape>
              </dgm:if>
              <dgm:else name="Name30">
                <dgm:shape xmlns:r="http://schemas.openxmlformats.org/officeDocument/2006/relationships" rot="180" type="chevron" r:blip="">
                  <dgm:adjLst>
                    <dgm:adj idx="1" val="0.6231"/>
                  </dgm:adjLst>
                </dgm:shape>
              </dgm:else>
            </dgm:choose>
            <dgm:presOf/>
          </dgm:layoutNode>
          <dgm:layoutNode name="spChevron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  <dgm:choose name="Name31">
          <dgm:if name="Name32" axis="root ch" ptType="all node" func="cnt" op="equ" val="2">
            <dgm:layoutNode name="overl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chevronComposite2" styleLbl="alignImgPlace1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l" for="ch" forName="chevron2"/>
                <dgm:constr type="t" for="ch" forName="chevron2" refType="h" fact="0.1923"/>
                <dgm:constr type="w" for="ch" forName="chevron2" refType="w"/>
                <dgm:constr type="b" for="ch" forName="chevron2" refType="h"/>
                <dgm:constr type="l" for="ch" forName="spChevron2"/>
                <dgm:constr type="t" for="ch" forName="spChevron2"/>
                <dgm:constr type="w" for="ch" forName="spChevron2" refType="w" fact="0.01"/>
                <dgm:constr type="h" for="ch" forName="spChevron2" refType="h" fact="0.01"/>
              </dgm:constrLst>
              <dgm:layoutNode name="chevron2">
                <dgm:alg type="sp"/>
                <dgm:choose name="Name33">
                  <dgm:if name="Name34" func="var" arg="dir" op="equ" val="norm">
                    <dgm:shape xmlns:r="http://schemas.openxmlformats.org/officeDocument/2006/relationships" type="chevron" r:blip="">
                      <dgm:adjLst>
                        <dgm:adj idx="1" val="0.6231"/>
                      </dgm:adjLst>
                    </dgm:shape>
                  </dgm:if>
                  <dgm:else name="Name35">
                    <dgm:shape xmlns:r="http://schemas.openxmlformats.org/officeDocument/2006/relationships" rot="180" type="chevron" r:blip="">
                      <dgm:adjLst>
                        <dgm:adj idx="1" val="0.6231"/>
                      </dgm:adjLst>
                    </dgm:shape>
                  </dgm:else>
                </dgm:choose>
                <dgm:presOf/>
              </dgm:layoutNode>
              <dgm:layoutNode name="spChevron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layoutNode>
          </dgm:if>
          <dgm:else name="Name36"/>
        </dgm:choos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489</cdr:x>
      <cdr:y>0.05834</cdr:y>
    </cdr:from>
    <cdr:to>
      <cdr:x>0.17529</cdr:x>
      <cdr:y>0.14922</cdr:y>
    </cdr:to>
    <cdr:sp macro="" textlink="">
      <cdr:nvSpPr>
        <cdr:cNvPr id="3" name="TextBox 12"/>
        <cdr:cNvSpPr txBox="1"/>
      </cdr:nvSpPr>
      <cdr:spPr>
        <a:xfrm xmlns:a="http://schemas.openxmlformats.org/drawingml/2006/main">
          <a:off x="612930" y="237093"/>
          <a:ext cx="652743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b="1" dirty="0" smtClean="0"/>
            <a:t>6131</a:t>
          </a:r>
          <a:endParaRPr lang="en-US" b="1" dirty="0"/>
        </a:p>
      </cdr:txBody>
    </cdr:sp>
  </cdr:relSizeAnchor>
  <cdr:relSizeAnchor xmlns:cdr="http://schemas.openxmlformats.org/drawingml/2006/chartDrawing">
    <cdr:from>
      <cdr:x>0.61863</cdr:x>
      <cdr:y>0.29931</cdr:y>
    </cdr:from>
    <cdr:to>
      <cdr:x>0.70903</cdr:x>
      <cdr:y>0.39019</cdr:y>
    </cdr:to>
    <cdr:sp macro="" textlink="">
      <cdr:nvSpPr>
        <cdr:cNvPr id="2" name="TextBox 12"/>
        <cdr:cNvSpPr txBox="1"/>
      </cdr:nvSpPr>
      <cdr:spPr>
        <a:xfrm xmlns:a="http://schemas.openxmlformats.org/drawingml/2006/main">
          <a:off x="5260974" y="1368425"/>
          <a:ext cx="768783" cy="4155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b="1" dirty="0" smtClean="0"/>
            <a:t>4063</a:t>
          </a:r>
          <a:endParaRPr lang="en-US" b="1" dirty="0"/>
        </a:p>
      </cdr:txBody>
    </cdr:sp>
  </cdr:relSizeAnchor>
  <cdr:relSizeAnchor xmlns:cdr="http://schemas.openxmlformats.org/drawingml/2006/chartDrawing">
    <cdr:from>
      <cdr:x>0.20646</cdr:x>
      <cdr:y>0.08264</cdr:y>
    </cdr:from>
    <cdr:to>
      <cdr:x>0.25126</cdr:x>
      <cdr:y>0.1493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755775" y="377825"/>
          <a:ext cx="3810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35878</cdr:x>
      <cdr:y>0.13264</cdr:y>
    </cdr:from>
    <cdr:to>
      <cdr:x>0.44839</cdr:x>
      <cdr:y>0.2159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051174" y="606425"/>
          <a:ext cx="762065" cy="3809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/>
            <a:t>5536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18854</cdr:x>
      <cdr:y>0.08264</cdr:y>
    </cdr:from>
    <cdr:to>
      <cdr:x>0.27814</cdr:x>
      <cdr:y>0.1659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1603375" y="377825"/>
          <a:ext cx="762000" cy="381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b="1" dirty="0" smtClean="0"/>
            <a:t>5987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43942</cdr:x>
      <cdr:y>0.21597</cdr:y>
    </cdr:from>
    <cdr:to>
      <cdr:x>0.52902</cdr:x>
      <cdr:y>0.2993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3736974" y="987425"/>
          <a:ext cx="761979" cy="3809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b="1" dirty="0" smtClean="0"/>
            <a:t>4797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52903</cdr:x>
      <cdr:y>0.26597</cdr:y>
    </cdr:from>
    <cdr:to>
      <cdr:x>0.61863</cdr:x>
      <cdr:y>0.3493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4498974" y="1216025"/>
          <a:ext cx="761980" cy="3809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b="1" dirty="0" smtClean="0"/>
            <a:t>4317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70823</cdr:x>
      <cdr:y>0.36597</cdr:y>
    </cdr:from>
    <cdr:to>
      <cdr:x>0.80769</cdr:x>
      <cdr:y>0.43264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5612580" y="1600593"/>
          <a:ext cx="788219" cy="2915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/>
            <a:t>3572</a:t>
          </a:r>
          <a:endParaRPr lang="en-US" sz="1800" b="1" dirty="0"/>
        </a:p>
      </cdr:txBody>
    </cdr:sp>
  </cdr:relSizeAnchor>
  <cdr:relSizeAnchor xmlns:cdr="http://schemas.openxmlformats.org/drawingml/2006/chartDrawing">
    <cdr:from>
      <cdr:x>0.27814</cdr:x>
      <cdr:y>0.73264</cdr:y>
    </cdr:from>
    <cdr:to>
      <cdr:x>0.34982</cdr:x>
      <cdr:y>0.81597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365374" y="3349625"/>
          <a:ext cx="609600" cy="381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/>
            <a:t>**</a:t>
          </a:r>
          <a:endParaRPr lang="en-US" sz="18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F619AD-257C-024F-9AD4-02ED78B07A60}" type="datetimeFigureOut">
              <a:rPr lang="en-US" smtClean="0"/>
              <a:t>3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FE3879-7E0C-2243-8200-1F945420EE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711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2668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2281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26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46C05A-FB97-4D80-B46A-FFFB7624347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607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oint out Chronic Status and Mental Health</a:t>
            </a:r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791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ll sub pops also decreased</a:t>
            </a:r>
            <a:r>
              <a:rPr lang="en-US" baseline="0" dirty="0" smtClean="0"/>
              <a:t> with the exception of Families which increase from 141 to 163</a:t>
            </a:r>
          </a:p>
          <a:p>
            <a:r>
              <a:rPr lang="en-US" baseline="0" dirty="0" smtClean="0"/>
              <a:t>Youth 217 down from 342</a:t>
            </a:r>
          </a:p>
          <a:p>
            <a:r>
              <a:rPr lang="en-US" baseline="0" dirty="0" smtClean="0"/>
              <a:t>Vets 386</a:t>
            </a:r>
          </a:p>
          <a:p>
            <a:r>
              <a:rPr lang="en-US" baseline="0" dirty="0" err="1" smtClean="0"/>
              <a:t>Chronics</a:t>
            </a:r>
            <a:r>
              <a:rPr lang="en-US" baseline="0" dirty="0" smtClean="0"/>
              <a:t> at 346 down from 53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A84FDD-81D7-44B8-8D01-D9B1D15C6A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334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ulton stayed</a:t>
            </a:r>
            <a:r>
              <a:rPr lang="en-US" baseline="0" dirty="0" smtClean="0"/>
              <a:t> stagnant; </a:t>
            </a:r>
            <a:r>
              <a:rPr lang="en-US" baseline="0" dirty="0" err="1" smtClean="0"/>
              <a:t>Dekalb</a:t>
            </a:r>
            <a:r>
              <a:rPr lang="en-US" baseline="0" dirty="0" smtClean="0"/>
              <a:t> and Cobb saw declin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096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ayton</a:t>
            </a:r>
            <a:r>
              <a:rPr lang="en-US" baseline="0" dirty="0" smtClean="0"/>
              <a:t>: stagnant</a:t>
            </a:r>
          </a:p>
          <a:p>
            <a:r>
              <a:rPr lang="en-US" baseline="0" dirty="0" smtClean="0"/>
              <a:t>Rockdale: up</a:t>
            </a:r>
          </a:p>
          <a:p>
            <a:r>
              <a:rPr lang="en-US" baseline="0" dirty="0" smtClean="0"/>
              <a:t>Gwinnett: drastic drop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602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867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lso </a:t>
            </a:r>
            <a:r>
              <a:rPr lang="en-US" dirty="0" err="1" smtClean="0"/>
              <a:t>evlauting</a:t>
            </a:r>
            <a:r>
              <a:rPr lang="en-US" dirty="0" smtClean="0"/>
              <a:t> bridging affordability programs and</a:t>
            </a:r>
            <a:r>
              <a:rPr lang="en-US" baseline="0" dirty="0" smtClean="0"/>
              <a:t> preven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130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FE3879-7E0C-2243-8200-1F945420EE2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217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3707" y="4572000"/>
            <a:ext cx="3250174" cy="12192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6410" y="0"/>
            <a:ext cx="9150409" cy="1447800"/>
          </a:xfrm>
          <a:prstGeom prst="rect">
            <a:avLst/>
          </a:prstGeom>
          <a:solidFill>
            <a:srgbClr val="564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6474460"/>
            <a:ext cx="3110635" cy="419100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alphaModFix amt="1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03" b="45322"/>
          <a:stretch/>
        </p:blipFill>
        <p:spPr>
          <a:xfrm>
            <a:off x="5867400" y="-228600"/>
            <a:ext cx="3664009" cy="2038518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943707" y="6474460"/>
            <a:ext cx="6200293" cy="419100"/>
          </a:xfrm>
          <a:prstGeom prst="rect">
            <a:avLst/>
          </a:prstGeom>
          <a:solidFill>
            <a:srgbClr val="F0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809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33600"/>
            <a:ext cx="4040188" cy="399256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33601"/>
            <a:ext cx="4041775" cy="39925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04293" y="133102"/>
            <a:ext cx="6982307" cy="1009898"/>
          </a:xfrm>
          <a:prstGeom prst="rect">
            <a:avLst/>
          </a:prstGeom>
          <a:solidFill>
            <a:srgbClr val="7AA6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3"/>
            <a:ext cx="1527048" cy="57282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293" y="6477001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140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293" y="133101"/>
            <a:ext cx="6982307" cy="1009898"/>
          </a:xfrm>
          <a:prstGeom prst="rect">
            <a:avLst/>
          </a:prstGeom>
          <a:solidFill>
            <a:srgbClr val="5E5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2"/>
            <a:ext cx="1527048" cy="572825"/>
          </a:xfrm>
          <a:prstGeom prst="rect">
            <a:avLst/>
          </a:prstGeom>
        </p:spPr>
      </p:pic>
      <p:sp>
        <p:nvSpPr>
          <p:cNvPr id="26" name="Content Placeholder 25"/>
          <p:cNvSpPr>
            <a:spLocks noGrp="1"/>
          </p:cNvSpPr>
          <p:nvPr>
            <p:ph sz="quarter" idx="10"/>
          </p:nvPr>
        </p:nvSpPr>
        <p:spPr>
          <a:xfrm>
            <a:off x="457200" y="2209800"/>
            <a:ext cx="8248335" cy="4191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04293" y="6477000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877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88171" y="2057400"/>
            <a:ext cx="5074829" cy="3200400"/>
          </a:xfrm>
          <a:prstGeom prst="rect">
            <a:avLst/>
          </a:prstGeom>
        </p:spPr>
        <p:txBody>
          <a:bodyPr anchor="ctr"/>
          <a:lstStyle>
            <a:lvl1pPr marL="457200" indent="-457200">
              <a:buFont typeface="Arial" panose="020B0604020202020204" pitchFamily="34" charset="0"/>
              <a:buChar char="•"/>
              <a:defRPr baseline="0"/>
            </a:lvl1pPr>
          </a:lstStyle>
          <a:p>
            <a:pPr lvl="0"/>
            <a:r>
              <a:rPr lang="en-US" dirty="0" smtClean="0"/>
              <a:t>Welcome</a:t>
            </a:r>
          </a:p>
        </p:txBody>
      </p:sp>
      <p:sp>
        <p:nvSpPr>
          <p:cNvPr id="30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2865344"/>
            <a:ext cx="2438400" cy="166071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800" baseline="0">
                <a:solidFill>
                  <a:srgbClr val="658D1B"/>
                </a:solidFill>
              </a:defRPr>
            </a:lvl1pPr>
          </a:lstStyle>
          <a:p>
            <a:pPr lvl="0"/>
            <a:r>
              <a:rPr lang="en-US" dirty="0" smtClean="0"/>
              <a:t>Agenda/Table of Contents  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4293" y="133101"/>
            <a:ext cx="6982307" cy="1009898"/>
          </a:xfrm>
          <a:prstGeom prst="rect">
            <a:avLst/>
          </a:prstGeom>
          <a:solidFill>
            <a:srgbClr val="F0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2"/>
            <a:ext cx="1527048" cy="572825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04293" y="6477000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548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88171" y="2057400"/>
            <a:ext cx="5074829" cy="3200400"/>
          </a:xfrm>
          <a:prstGeom prst="rect">
            <a:avLst/>
          </a:prstGeom>
        </p:spPr>
        <p:txBody>
          <a:bodyPr anchor="ctr"/>
          <a:lstStyle>
            <a:lvl1pPr marL="457200" indent="-457200">
              <a:buFont typeface="Arial" panose="020B0604020202020204" pitchFamily="34" charset="0"/>
              <a:buChar char="•"/>
              <a:defRPr baseline="0"/>
            </a:lvl1pPr>
          </a:lstStyle>
          <a:p>
            <a:pPr lvl="0"/>
            <a:r>
              <a:rPr lang="en-US" dirty="0" smtClean="0"/>
              <a:t>Welcome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3352800" y="2133600"/>
            <a:ext cx="0" cy="3124200"/>
          </a:xfrm>
          <a:prstGeom prst="line">
            <a:avLst/>
          </a:prstGeom>
          <a:ln>
            <a:solidFill>
              <a:srgbClr val="E1D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7200" y="2865344"/>
            <a:ext cx="2438400" cy="166071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800" baseline="0">
                <a:solidFill>
                  <a:srgbClr val="658D1B"/>
                </a:solidFill>
              </a:defRPr>
            </a:lvl1pPr>
          </a:lstStyle>
          <a:p>
            <a:pPr lvl="0"/>
            <a:r>
              <a:rPr lang="en-US" dirty="0" smtClean="0"/>
              <a:t>Agenda/Table of Contents  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4293" y="133101"/>
            <a:ext cx="6982307" cy="1009898"/>
          </a:xfrm>
          <a:prstGeom prst="rect">
            <a:avLst/>
          </a:prstGeom>
          <a:solidFill>
            <a:srgbClr val="F0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2"/>
            <a:ext cx="1527048" cy="572825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104293" y="6477000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33600"/>
            <a:ext cx="4040188" cy="399256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33600"/>
            <a:ext cx="4041775" cy="39925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04293" y="133101"/>
            <a:ext cx="6982307" cy="1009898"/>
          </a:xfrm>
          <a:prstGeom prst="rect">
            <a:avLst/>
          </a:prstGeom>
          <a:solidFill>
            <a:srgbClr val="7AA6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2"/>
            <a:ext cx="1527048" cy="57282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293" y="6477000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225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33600"/>
            <a:ext cx="4040188" cy="399256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33600"/>
            <a:ext cx="4041775" cy="39925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04293" y="133101"/>
            <a:ext cx="6982307" cy="1009898"/>
          </a:xfrm>
          <a:prstGeom prst="rect">
            <a:avLst/>
          </a:prstGeom>
          <a:solidFill>
            <a:srgbClr val="658D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086600" y="133100"/>
            <a:ext cx="1908224" cy="1009899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188" y="365042"/>
            <a:ext cx="1527048" cy="57282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04293" y="6477000"/>
            <a:ext cx="1295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err="1" smtClean="0">
                <a:solidFill>
                  <a:srgbClr val="564A45"/>
                </a:solidFill>
              </a:rPr>
              <a:t>Partnersforhome.org</a:t>
            </a:r>
            <a:endParaRPr lang="en-US" sz="1000" b="0" dirty="0">
              <a:solidFill>
                <a:srgbClr val="564A45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E1D5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alphaModFix amt="2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303" b="45322"/>
          <a:stretch/>
        </p:blipFill>
        <p:spPr>
          <a:xfrm>
            <a:off x="2268557" y="3048000"/>
            <a:ext cx="6875443" cy="382524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0" y="6019800"/>
            <a:ext cx="1527048" cy="572825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32769" y="2133600"/>
            <a:ext cx="8509479" cy="3124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E514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27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05400"/>
          </a:xfrm>
          <a:prstGeom prst="rect">
            <a:avLst/>
          </a:prstGeom>
          <a:solidFill>
            <a:srgbClr val="F0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72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762000" y="990600"/>
            <a:ext cx="42672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Thank you!</a:t>
            </a:r>
          </a:p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b="1" dirty="0" smtClean="0">
                <a:solidFill>
                  <a:schemeClr val="bg1"/>
                </a:solidFill>
              </a:rPr>
              <a:t>CONTACT:</a:t>
            </a:r>
          </a:p>
          <a:p>
            <a:r>
              <a:rPr lang="en-US" sz="1800" b="1" i="0" kern="1200" dirty="0" err="1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athryn</a:t>
            </a:r>
            <a:r>
              <a:rPr lang="en-US" sz="1800" b="1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800" b="1" i="0" kern="1200" dirty="0" err="1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Marchman</a:t>
            </a:r>
            <a:r>
              <a:rPr lang="en-US" sz="1800" b="0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LCSW, Esq.</a:t>
            </a:r>
          </a:p>
          <a:p>
            <a:r>
              <a:rPr lang="en-US" sz="1800" b="0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Executive Director</a:t>
            </a:r>
          </a:p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err="1" smtClean="0">
                <a:solidFill>
                  <a:schemeClr val="bg1"/>
                </a:solidFill>
              </a:rPr>
              <a:t>CFMarchman@AtlantaGa.Gov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404-694-2262</a:t>
            </a:r>
          </a:p>
          <a:p>
            <a:r>
              <a:rPr lang="en-US" dirty="0" err="1" smtClean="0">
                <a:solidFill>
                  <a:schemeClr val="bg1"/>
                </a:solidFill>
              </a:rPr>
              <a:t>Partnersforhome.org</a:t>
            </a:r>
            <a:endParaRPr lang="en-US" dirty="0" smtClean="0">
              <a:solidFill>
                <a:schemeClr val="bg1"/>
              </a:solidFill>
            </a:endParaRPr>
          </a:p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446" y="5562600"/>
            <a:ext cx="2598017" cy="9745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4686300"/>
            <a:ext cx="3110635" cy="419100"/>
          </a:xfrm>
          <a:prstGeom prst="rect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2943707" y="4686300"/>
            <a:ext cx="6200293" cy="419100"/>
          </a:xfrm>
          <a:prstGeom prst="rect">
            <a:avLst/>
          </a:prstGeom>
          <a:solidFill>
            <a:srgbClr val="5E5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15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E1D5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236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4211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64" r:id="rId4"/>
    <p:sldLayoutId id="2147483653" r:id="rId5"/>
    <p:sldLayoutId id="2147483665" r:id="rId6"/>
    <p:sldLayoutId id="2147483663" r:id="rId7"/>
    <p:sldLayoutId id="2147483662" r:id="rId8"/>
    <p:sldLayoutId id="2147483651" r:id="rId9"/>
    <p:sldLayoutId id="2147483666" r:id="rId10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notesSlide" Target="../notesSlides/notesSlide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howsnashville.org/2016/05/31/housing-first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14400" y="1676400"/>
            <a:ext cx="7467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rgbClr val="7AA6C5"/>
                </a:solidFill>
              </a:rPr>
              <a:t>Creating a </a:t>
            </a:r>
            <a:r>
              <a:rPr lang="en-US" sz="4400" b="1" dirty="0" err="1" smtClean="0">
                <a:solidFill>
                  <a:srgbClr val="658D1B"/>
                </a:solidFill>
              </a:rPr>
              <a:t>ClearPath</a:t>
            </a:r>
            <a:r>
              <a:rPr lang="en-US" sz="4400" b="1" dirty="0" smtClean="0">
                <a:solidFill>
                  <a:srgbClr val="7AA6C5"/>
                </a:solidFill>
              </a:rPr>
              <a:t> for Atlanta’s Homeless</a:t>
            </a:r>
            <a:endParaRPr lang="en-US" sz="4400" b="1" dirty="0">
              <a:solidFill>
                <a:srgbClr val="7AA6C5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3276600"/>
            <a:ext cx="8229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5E514D"/>
                </a:solidFill>
              </a:rPr>
              <a:t>Atlanta Regional Housing Forum</a:t>
            </a:r>
          </a:p>
          <a:p>
            <a:pPr algn="ctr"/>
            <a:r>
              <a:rPr lang="en-US" sz="2400" b="1" dirty="0" smtClean="0">
                <a:solidFill>
                  <a:srgbClr val="5E514D"/>
                </a:solidFill>
              </a:rPr>
              <a:t>March 6, 2018</a:t>
            </a:r>
            <a:endParaRPr lang="en-US" sz="2400" b="1" dirty="0">
              <a:solidFill>
                <a:srgbClr val="5E51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23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371600" y="6507162"/>
            <a:ext cx="704840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Arial" charset="0"/>
                <a:ea typeface="Arial" charset="0"/>
                <a:cs typeface="Arial" charset="0"/>
              </a:rPr>
              <a:t>**PIT count not conducted in 2012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73676" y="188890"/>
            <a:ext cx="6019800" cy="9017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Substantial progress in decreasing homelessness in recent year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858000" y="632460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C10C598D-FAAD-4214-9D2C-06D03038B178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236662"/>
            <a:ext cx="8610600" cy="5134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08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28600" y="177800"/>
            <a:ext cx="62252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Trends 2013-2017:</a:t>
            </a:r>
          </a:p>
          <a:p>
            <a:r>
              <a:rPr lang="en-US" sz="2400" b="1" dirty="0" smtClean="0">
                <a:solidFill>
                  <a:schemeClr val="bg1"/>
                </a:solidFill>
              </a:rPr>
              <a:t>Total Population for </a:t>
            </a:r>
            <a:r>
              <a:rPr lang="en-US" sz="2400" b="1" dirty="0" smtClean="0">
                <a:solidFill>
                  <a:schemeClr val="bg1"/>
                </a:solidFill>
              </a:rPr>
              <a:t>Cobb</a:t>
            </a:r>
            <a:r>
              <a:rPr lang="en-US" sz="2400" b="1" dirty="0" smtClean="0">
                <a:solidFill>
                  <a:schemeClr val="bg1"/>
                </a:solidFill>
              </a:rPr>
              <a:t>, Fulton and </a:t>
            </a:r>
            <a:r>
              <a:rPr lang="en-US" sz="2400" b="1" dirty="0" err="1" smtClean="0">
                <a:solidFill>
                  <a:schemeClr val="bg1"/>
                </a:solidFill>
              </a:rPr>
              <a:t>Dekalb</a:t>
            </a:r>
            <a:endParaRPr lang="en-US" sz="2400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5002615"/>
              </p:ext>
            </p:extLst>
          </p:nvPr>
        </p:nvGraphicFramePr>
        <p:xfrm>
          <a:off x="457200" y="1447798"/>
          <a:ext cx="8305800" cy="4937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981200" y="6209719"/>
            <a:ext cx="655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/>
              <a:t>HUD Exchange, https://www.hudexchange.info/programs/coc/coc-homeless-populations-and-subpopulations-reports/?filter_Year=2017&amp;filter_Scope=CoC&amp;filter_State=GA&amp;filter_CoC=&amp;program=CoC&amp;group=PopSub</a:t>
            </a:r>
          </a:p>
        </p:txBody>
      </p:sp>
    </p:spTree>
    <p:extLst>
      <p:ext uri="{BB962C8B-B14F-4D97-AF65-F5344CB8AC3E}">
        <p14:creationId xmlns:p14="http://schemas.microsoft.com/office/powerpoint/2010/main" val="1002771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28600" y="228600"/>
            <a:ext cx="62252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Trends 2013-2017: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Total Homeless by </a:t>
            </a:r>
            <a:r>
              <a:rPr lang="en-US" sz="2800" b="1" dirty="0" smtClean="0">
                <a:solidFill>
                  <a:schemeClr val="bg1"/>
                </a:solidFill>
              </a:rPr>
              <a:t>County, Metro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423427"/>
            <a:ext cx="8229600" cy="494689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501900" y="6550223"/>
            <a:ext cx="61722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Source: DCA Homelessness Report 2013, 2015, and 2017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35015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earPath: Guiding princip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0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Big Goals: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chemeClr val="accent6"/>
                </a:solidFill>
                <a:ea typeface="Arial" charset="0"/>
                <a:cs typeface="Arial" charset="0"/>
              </a:rPr>
              <a:t>Achieved by the new system design and collective impact model</a:t>
            </a:r>
            <a:endParaRPr lang="en-US" sz="2000" dirty="0">
              <a:solidFill>
                <a:schemeClr val="accent6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381857"/>
              </p:ext>
            </p:extLst>
          </p:nvPr>
        </p:nvGraphicFramePr>
        <p:xfrm>
          <a:off x="1066800" y="2362200"/>
          <a:ext cx="7391400" cy="3795324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5029200"/>
                <a:gridCol w="2362200"/>
              </a:tblGrid>
              <a:tr h="598311">
                <a:tc>
                  <a:txBody>
                    <a:bodyPr/>
                    <a:lstStyle/>
                    <a:p>
                      <a:r>
                        <a:rPr lang="en-US" sz="2000" b="1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Goal: Rare,</a:t>
                      </a:r>
                      <a:r>
                        <a:rPr lang="en-US" sz="2000" b="1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 brief and nonrecurring</a:t>
                      </a:r>
                      <a:endParaRPr lang="en-US" sz="2000" b="1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7AA6C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Timeline</a:t>
                      </a:r>
                      <a:endParaRPr lang="en-US" sz="2000" b="1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7AA6C5"/>
                    </a:solidFill>
                  </a:tcPr>
                </a:tc>
              </a:tr>
              <a:tr h="598311"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End Veteran Homelessness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2017 </a:t>
                      </a:r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–</a:t>
                      </a:r>
                      <a: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 Met, now sustain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60000"/>
                      </a:srgbClr>
                    </a:solidFill>
                  </a:tcPr>
                </a:tc>
              </a:tr>
              <a:tr h="598311"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End Chronic</a:t>
                      </a:r>
                      <a: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 Homelessness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2019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/>
                </a:tc>
              </a:tr>
              <a:tr h="598311"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End Youth Homelessness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2020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60000"/>
                      </a:srgbClr>
                    </a:solidFill>
                  </a:tcPr>
                </a:tc>
              </a:tr>
              <a:tr h="598311"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End Family</a:t>
                      </a:r>
                      <a: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 Homelessness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2020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/>
                </a:tc>
              </a:tr>
              <a:tr h="666045"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Leverage,</a:t>
                      </a:r>
                      <a: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 align and strategically </a:t>
                      </a:r>
                      <a:b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</a:br>
                      <a:r>
                        <a:rPr lang="en-US" sz="2000" b="0" i="0" baseline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allocate resources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i="0" dirty="0" smtClean="0">
                          <a:latin typeface="Calibri" charset="0"/>
                          <a:ea typeface="Calibri" charset="0"/>
                          <a:cs typeface="Calibri" charset="0"/>
                        </a:rPr>
                        <a:t>Ongoing </a:t>
                      </a:r>
                      <a:endParaRPr lang="en-US" sz="2000" b="0" i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>
                    <a:solidFill>
                      <a:srgbClr val="E1D555">
                        <a:alpha val="6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661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Guiding Principle 1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solidFill>
                  <a:srgbClr val="658D1B"/>
                </a:solidFill>
                <a:latin typeface="Arial" charset="0"/>
                <a:ea typeface="Arial" charset="0"/>
                <a:cs typeface="Arial" charset="0"/>
              </a:rPr>
              <a:t>Disrupt and Refine the System</a:t>
            </a:r>
            <a:endParaRPr lang="en-US" sz="2400" b="1" dirty="0">
              <a:solidFill>
                <a:srgbClr val="658D1B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7039" y="2153920"/>
            <a:ext cx="8229600" cy="74676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Move the system from an independent </a:t>
            </a:r>
            <a:r>
              <a:rPr lang="mr-IN" sz="2400" dirty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en-US" sz="2400" dirty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agency approach</a:t>
            </a:r>
          </a:p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to an integrated </a:t>
            </a:r>
            <a:r>
              <a:rPr lang="mr-IN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–</a:t>
            </a:r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 partner approach</a:t>
            </a:r>
            <a:endParaRPr lang="en-US" sz="2400" dirty="0">
              <a:solidFill>
                <a:srgbClr val="5E514D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5800" y="3657600"/>
            <a:ext cx="34290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charset="0"/>
              <a:buChar char="•"/>
            </a:pPr>
            <a:r>
              <a:rPr lang="en-US" sz="2000" b="1" dirty="0" smtClean="0">
                <a:solidFill>
                  <a:srgbClr val="7AA6C5"/>
                </a:solidFill>
                <a:latin typeface="Calibri" charset="0"/>
                <a:ea typeface="Calibri" charset="0"/>
                <a:cs typeface="Calibri" charset="0"/>
              </a:rPr>
              <a:t>Implement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 Coordinated Entry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/>
            </a:r>
            <a:br>
              <a:rPr lang="en-US" sz="2000" dirty="0">
                <a:latin typeface="Calibri" charset="0"/>
                <a:ea typeface="Calibri" charset="0"/>
                <a:cs typeface="Calibri" charset="0"/>
              </a:rPr>
            </a:b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pPr marL="285750" lvl="0" indent="-285750">
              <a:buFont typeface="Arial" charset="0"/>
              <a:buChar char="•"/>
            </a:pPr>
            <a:r>
              <a:rPr lang="en-US" sz="2000" b="1" dirty="0" smtClean="0">
                <a:solidFill>
                  <a:srgbClr val="F07B00"/>
                </a:solidFill>
                <a:latin typeface="Calibri" charset="0"/>
                <a:ea typeface="Calibri" charset="0"/>
                <a:cs typeface="Calibri" charset="0"/>
              </a:rPr>
              <a:t>Fill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gaps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/>
            </a:r>
            <a:br>
              <a:rPr lang="en-US" sz="2000" dirty="0">
                <a:latin typeface="Calibri" charset="0"/>
                <a:ea typeface="Calibri" charset="0"/>
                <a:cs typeface="Calibri" charset="0"/>
              </a:rPr>
            </a:b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2000" b="1" dirty="0" smtClean="0">
                <a:solidFill>
                  <a:srgbClr val="658D1B"/>
                </a:solidFill>
                <a:latin typeface="Calibri" charset="0"/>
                <a:ea typeface="Calibri" charset="0"/>
                <a:cs typeface="Calibri" charset="0"/>
              </a:rPr>
              <a:t>Address</a:t>
            </a:r>
            <a:r>
              <a:rPr lang="en-US" sz="2000" b="1" dirty="0" smtClean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racial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disparities</a:t>
            </a: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endParaRPr lang="en-US" dirty="0">
              <a:latin typeface="Calibri" charset="0"/>
              <a:ea typeface="Calibri" charset="0"/>
              <a:cs typeface="Calibri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419600" y="3657600"/>
            <a:ext cx="0" cy="2590800"/>
          </a:xfrm>
          <a:prstGeom prst="line">
            <a:avLst/>
          </a:prstGeom>
          <a:ln>
            <a:solidFill>
              <a:srgbClr val="E1D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164460"/>
              </p:ext>
            </p:extLst>
          </p:nvPr>
        </p:nvGraphicFramePr>
        <p:xfrm>
          <a:off x="4724400" y="3505494"/>
          <a:ext cx="3908674" cy="289501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954337"/>
                <a:gridCol w="1954337"/>
              </a:tblGrid>
              <a:tr h="38041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Gaps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/>
                    </a:solidFill>
                  </a:tcPr>
                </a:tc>
              </a:tr>
              <a:tr h="380411"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chemeClr val="bg1"/>
                          </a:solidFill>
                        </a:rPr>
                        <a:t>Ending Homelessness</a:t>
                      </a:r>
                      <a:endParaRPr lang="en-US" sz="1500" dirty="0">
                        <a:solidFill>
                          <a:schemeClr val="bg1"/>
                        </a:solidFill>
                      </a:endParaRPr>
                    </a:p>
                  </a:txBody>
                  <a:tcPr marL="78173" marR="78173" marT="39087" marB="39087">
                    <a:solidFill>
                      <a:srgbClr val="658D1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>
                          <a:solidFill>
                            <a:schemeClr val="bg1"/>
                          </a:solidFill>
                        </a:rPr>
                        <a:t>Stabilization</a:t>
                      </a:r>
                      <a:endParaRPr lang="en-US" sz="1500" dirty="0">
                        <a:solidFill>
                          <a:schemeClr val="bg1"/>
                        </a:solidFill>
                      </a:endParaRPr>
                    </a:p>
                  </a:txBody>
                  <a:tcPr marL="78173" marR="78173" marT="39087" marB="39087">
                    <a:solidFill>
                      <a:srgbClr val="658D1B"/>
                    </a:solidFill>
                  </a:tcPr>
                </a:tc>
              </a:tr>
              <a:tr h="316052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Housing stock</a:t>
                      </a:r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MH/SA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</a:tr>
              <a:tr h="316052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Low barrier shelter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Service</a:t>
                      </a:r>
                      <a:r>
                        <a:rPr lang="en-US" sz="1500" baseline="0" dirty="0" smtClean="0"/>
                        <a:t> revenue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</a:tr>
              <a:tr h="55393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Outreach, coordinated</a:t>
                      </a:r>
                      <a:r>
                        <a:rPr lang="en-US" sz="1500" baseline="0" dirty="0" smtClean="0"/>
                        <a:t> entry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Employment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</a:tr>
              <a:tr h="316052">
                <a:tc>
                  <a:txBody>
                    <a:bodyPr/>
                    <a:lstStyle/>
                    <a:p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Education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</a:tr>
              <a:tr h="316052">
                <a:tc>
                  <a:txBody>
                    <a:bodyPr/>
                    <a:lstStyle/>
                    <a:p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Transportation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30000"/>
                      </a:srgbClr>
                    </a:solidFill>
                  </a:tcPr>
                </a:tc>
              </a:tr>
              <a:tr h="316052">
                <a:tc>
                  <a:txBody>
                    <a:bodyPr/>
                    <a:lstStyle/>
                    <a:p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Child care</a:t>
                      </a:r>
                      <a:endParaRPr lang="en-US" sz="1500" dirty="0"/>
                    </a:p>
                  </a:txBody>
                  <a:tcPr marL="78173" marR="78173" marT="39087" marB="39087">
                    <a:solidFill>
                      <a:srgbClr val="658D1B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2400" y="283031"/>
            <a:ext cx="121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>
                    <a:alpha val="27000"/>
                  </a:schemeClr>
                </a:solidFill>
              </a:rPr>
              <a:t>1</a:t>
            </a:r>
            <a:endParaRPr lang="en-US" sz="7200" b="1" dirty="0">
              <a:solidFill>
                <a:schemeClr val="bg1">
                  <a:alpha val="27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200" y="13716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Coordinated Entry System Map</a:t>
            </a:r>
            <a:endParaRPr lang="en-US" sz="3200" b="1" dirty="0">
              <a:solidFill>
                <a:srgbClr val="658D1B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2286000"/>
            <a:ext cx="8686800" cy="3749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5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>
                <a:solidFill>
                  <a:srgbClr val="658D1B"/>
                </a:solidFill>
              </a:rPr>
              <a:t>Guiding Principle 2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solidFill>
                  <a:srgbClr val="658D1B"/>
                </a:solidFill>
                <a:latin typeface="Arial" charset="0"/>
                <a:ea typeface="Arial" charset="0"/>
                <a:cs typeface="Arial" charset="0"/>
              </a:rPr>
              <a:t>Create The Right-Sized Solutions</a:t>
            </a:r>
            <a:endParaRPr lang="en-US" sz="24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2153920"/>
            <a:ext cx="8229600" cy="74676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Modify and tailor housing entry and</a:t>
            </a:r>
          </a:p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support criteria by population</a:t>
            </a:r>
            <a:endParaRPr lang="en-US" sz="2400" dirty="0">
              <a:solidFill>
                <a:srgbClr val="5E514D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320040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400" b="1" dirty="0">
                <a:latin typeface="Calibri" charset="0"/>
                <a:ea typeface="Calibri" charset="0"/>
                <a:cs typeface="Calibri" charset="0"/>
              </a:rPr>
              <a:t>Using Housing First as our foundation: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7039" y="4500880"/>
            <a:ext cx="1905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7AA6C5"/>
                </a:solidFill>
                <a:ea typeface="Calibri" charset="0"/>
                <a:cs typeface="Calibri" charset="0"/>
              </a:rPr>
              <a:t>Expand </a:t>
            </a:r>
            <a:r>
              <a:rPr lang="en-US" sz="1600" b="1" dirty="0" smtClean="0">
                <a:solidFill>
                  <a:srgbClr val="7AA6C5"/>
                </a:solidFill>
                <a:ea typeface="Calibri" charset="0"/>
                <a:cs typeface="Calibri" charset="0"/>
              </a:rPr>
              <a:t>Supportive Housing</a:t>
            </a:r>
            <a:endParaRPr lang="en-US" sz="1600" b="1" dirty="0">
              <a:solidFill>
                <a:srgbClr val="7AA6C5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47039" y="5029200"/>
            <a:ext cx="190500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latin typeface="Calibri" charset="0"/>
                <a:ea typeface="Calibri" charset="0"/>
                <a:cs typeface="Calibri" charset="0"/>
              </a:rPr>
              <a:t>and refine integrated service delivery model utilizing Medicaid expansion for chronically homeles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58719" y="4500880"/>
            <a:ext cx="1905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658D1B"/>
                </a:solidFill>
                <a:ea typeface="Calibri" charset="0"/>
                <a:cs typeface="Calibri" charset="0"/>
              </a:rPr>
              <a:t>Rapid Rehousing</a:t>
            </a:r>
          </a:p>
          <a:p>
            <a:pPr algn="ctr"/>
            <a:r>
              <a:rPr lang="en-US" sz="1600" b="1" dirty="0" smtClean="0">
                <a:solidFill>
                  <a:srgbClr val="658D1B"/>
                </a:solidFill>
                <a:ea typeface="Calibri" charset="0"/>
                <a:cs typeface="Calibri" charset="0"/>
              </a:rPr>
              <a:t>To Scale</a:t>
            </a:r>
            <a:endParaRPr lang="en-US" sz="1600" b="1" dirty="0">
              <a:solidFill>
                <a:srgbClr val="658D1B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58719" y="5029200"/>
            <a:ext cx="19050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latin typeface="Calibri" charset="0"/>
                <a:ea typeface="Calibri" charset="0"/>
                <a:cs typeface="Calibri" charset="0"/>
              </a:rPr>
              <a:t>for non-chronic singles and families. Sustain with TANF, ESG, </a:t>
            </a:r>
            <a:r>
              <a:rPr lang="en-US" sz="1400" dirty="0" err="1" smtClean="0">
                <a:latin typeface="Calibri" charset="0"/>
                <a:ea typeface="Calibri" charset="0"/>
                <a:cs typeface="Calibri" charset="0"/>
              </a:rPr>
              <a:t>CoC</a:t>
            </a:r>
            <a:endParaRPr lang="en-US" sz="14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0399" y="4531360"/>
            <a:ext cx="1905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E1D555"/>
                </a:solidFill>
                <a:ea typeface="Calibri" charset="0"/>
                <a:cs typeface="Calibri" charset="0"/>
              </a:rPr>
              <a:t>Retool Transitional Housing</a:t>
            </a:r>
            <a:endParaRPr lang="en-US" sz="1600" b="1" dirty="0">
              <a:solidFill>
                <a:srgbClr val="E1D555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470399" y="5059680"/>
            <a:ext cx="19050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400" dirty="0">
                <a:latin typeface="Calibri" charset="0"/>
                <a:ea typeface="Calibri" charset="0"/>
                <a:cs typeface="Calibri" charset="0"/>
              </a:rPr>
              <a:t>for youth, domestic abuse, and substance abuse population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558278" y="4541520"/>
            <a:ext cx="1905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07B00"/>
                </a:solidFill>
                <a:ea typeface="Calibri" charset="0"/>
                <a:cs typeface="Calibri" charset="0"/>
              </a:rPr>
              <a:t>Affordable Housing Preservation</a:t>
            </a:r>
            <a:endParaRPr lang="en-US" sz="1600" b="1" dirty="0">
              <a:solidFill>
                <a:srgbClr val="F07B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558278" y="5069840"/>
            <a:ext cx="19050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charset="0"/>
                <a:ea typeface="Calibri" charset="0"/>
                <a:cs typeface="Calibri" charset="0"/>
              </a:rPr>
              <a:t>and development aligned/supported with </a:t>
            </a:r>
            <a:r>
              <a:rPr lang="en-US" sz="1400" dirty="0" smtClean="0">
                <a:latin typeface="Calibri" charset="0"/>
                <a:ea typeface="Calibri" charset="0"/>
                <a:cs typeface="Calibri" charset="0"/>
              </a:rPr>
              <a:t>policy</a:t>
            </a:r>
            <a:endParaRPr lang="en-US" sz="14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8" name="Left-Right Arrow Callout 17"/>
          <p:cNvSpPr/>
          <p:nvPr/>
        </p:nvSpPr>
        <p:spPr>
          <a:xfrm>
            <a:off x="609600" y="4038600"/>
            <a:ext cx="1600200" cy="304800"/>
          </a:xfrm>
          <a:prstGeom prst="leftRightArrowCallout">
            <a:avLst/>
          </a:prstGeom>
          <a:solidFill>
            <a:srgbClr val="7AA6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Up-Down Arrow 18"/>
          <p:cNvSpPr/>
          <p:nvPr/>
        </p:nvSpPr>
        <p:spPr>
          <a:xfrm>
            <a:off x="3258819" y="3758446"/>
            <a:ext cx="304800" cy="731520"/>
          </a:xfrm>
          <a:prstGeom prst="upDownArrow">
            <a:avLst/>
          </a:prstGeom>
          <a:solidFill>
            <a:srgbClr val="658D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9298" y="3725934"/>
            <a:ext cx="822960" cy="694944"/>
          </a:xfrm>
          <a:prstGeom prst="rect">
            <a:avLst/>
          </a:prstGeom>
        </p:spPr>
      </p:pic>
      <p:sp>
        <p:nvSpPr>
          <p:cNvPr id="24" name="Curved Left Arrow 23"/>
          <p:cNvSpPr/>
          <p:nvPr/>
        </p:nvSpPr>
        <p:spPr>
          <a:xfrm>
            <a:off x="5125717" y="3849151"/>
            <a:ext cx="871221" cy="692369"/>
          </a:xfrm>
          <a:prstGeom prst="curvedLeftArrow">
            <a:avLst/>
          </a:prstGeom>
          <a:solidFill>
            <a:srgbClr val="E1D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2400" y="283031"/>
            <a:ext cx="121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>
                    <a:alpha val="27000"/>
                  </a:schemeClr>
                </a:solidFill>
              </a:rPr>
              <a:t>2</a:t>
            </a:r>
            <a:endParaRPr lang="en-US" sz="7200" b="1" dirty="0">
              <a:solidFill>
                <a:schemeClr val="bg1">
                  <a:alpha val="27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475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4406" y="4343400"/>
            <a:ext cx="8610600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risis response syste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Increase low barrier shelter capacit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 smtClean="0"/>
              <a:t>Opened 2017</a:t>
            </a:r>
            <a:r>
              <a:rPr lang="en-US" dirty="0" smtClean="0"/>
              <a:t>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+100 bed LBS for men—the Evolution Center </a:t>
            </a:r>
            <a:endParaRPr lang="en-US" dirty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+</a:t>
            </a:r>
            <a:r>
              <a:rPr lang="en-US" dirty="0" smtClean="0"/>
              <a:t>14 bed LBS for families—Weaver Garde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 smtClean="0"/>
              <a:t>Opening 4/2018</a:t>
            </a:r>
            <a:r>
              <a:rPr lang="en-US" dirty="0" smtClean="0"/>
              <a:t>: 35 bed LBS for women and families—Donna Center</a:t>
            </a:r>
            <a:endParaRPr lang="en-US" dirty="0" smtClean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 smtClean="0"/>
              <a:t>Proposed</a:t>
            </a:r>
            <a:r>
              <a:rPr lang="en-US" dirty="0" smtClean="0"/>
              <a:t>: 30 bed LBS for families </a:t>
            </a:r>
            <a:endParaRPr lang="en-US" dirty="0"/>
          </a:p>
          <a:p>
            <a:pPr lvl="1"/>
            <a:endParaRPr lang="en-US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228600" y="533400"/>
            <a:ext cx="6019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Strengthen our Crisis Response System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468">
            <a:off x="2438400" y="1447800"/>
            <a:ext cx="4038600" cy="2692400"/>
          </a:xfrm>
          <a:prstGeom prst="rect">
            <a:avLst/>
          </a:prstGeom>
          <a:ln w="98425">
            <a:solidFill>
              <a:schemeClr val="bg1"/>
            </a:solidFill>
          </a:ln>
          <a:effectLst>
            <a:outerShdw blurRad="266700" dist="50800" dir="2700000" sx="101000" sy="101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9841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85800" y="4960132"/>
            <a:ext cx="7718322" cy="1219200"/>
          </a:xfrm>
          <a:prstGeom prst="rect">
            <a:avLst/>
          </a:prstGeom>
          <a:solidFill>
            <a:srgbClr val="7AA6C5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685800" y="1587188"/>
            <a:ext cx="7772399" cy="92501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3200" b="1" dirty="0" smtClean="0"/>
              <a:t>Chronically </a:t>
            </a:r>
            <a:r>
              <a:rPr lang="en-US" sz="3200" b="1" dirty="0" smtClean="0"/>
              <a:t>homeless</a:t>
            </a:r>
            <a:endParaRPr lang="en-US" sz="3200" b="1" dirty="0" smtClean="0"/>
          </a:p>
          <a:p>
            <a:pPr marL="0" indent="0" algn="ctr">
              <a:buNone/>
            </a:pPr>
            <a:r>
              <a:rPr lang="en-US" sz="3200" b="1" dirty="0" smtClean="0"/>
              <a:t>Permanent Supportive Hous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8600" y="152400"/>
            <a:ext cx="6705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Invest in Permanent Housing and Stabilization to End </a:t>
            </a:r>
            <a:r>
              <a:rPr lang="en-US" sz="2800" b="1" dirty="0">
                <a:solidFill>
                  <a:schemeClr val="bg1"/>
                </a:solidFill>
              </a:rPr>
              <a:t>H</a:t>
            </a:r>
            <a:r>
              <a:rPr lang="en-US" sz="2800" b="1" dirty="0" smtClean="0">
                <a:solidFill>
                  <a:schemeClr val="bg1"/>
                </a:solidFill>
              </a:rPr>
              <a:t>omelessnes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7013" y="4960132"/>
            <a:ext cx="784859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dirty="0" smtClean="0"/>
              <a:t>PSH = evidence </a:t>
            </a:r>
            <a:r>
              <a:rPr lang="en-US" dirty="0"/>
              <a:t>based housing intervention that combines non-time-limited housing assistance with intensive wrap around supportive services. </a:t>
            </a:r>
            <a:endParaRPr lang="en-US" dirty="0" smtClean="0"/>
          </a:p>
          <a:p>
            <a:pPr marL="0" lvl="1" algn="ctr"/>
            <a:r>
              <a:rPr lang="en-US" sz="2400" b="1" dirty="0" smtClean="0"/>
              <a:t>IDEAL FOR CHRONICALLY HOMELESS</a:t>
            </a:r>
            <a:endParaRPr lang="en-US" sz="2400" b="1" dirty="0">
              <a:solidFill>
                <a:schemeClr val="accent3"/>
              </a:solidFill>
            </a:endParaRPr>
          </a:p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59095" y="3706229"/>
            <a:ext cx="1905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dirty="0"/>
              <a:t>Supportive housing </a:t>
            </a:r>
            <a:r>
              <a:rPr lang="en-US" sz="2000" dirty="0" smtClean="0"/>
              <a:t>pipeline</a:t>
            </a:r>
            <a:endParaRPr lang="en-US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3527322" y="3636693"/>
            <a:ext cx="1905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dirty="0" smtClean="0"/>
              <a:t>1000 placements; 550</a:t>
            </a:r>
            <a:r>
              <a:rPr lang="en-US" sz="2000" dirty="0" smtClean="0"/>
              <a:t>+ </a:t>
            </a:r>
            <a:r>
              <a:rPr lang="en-US" sz="2000" dirty="0" smtClean="0"/>
              <a:t>developed units</a:t>
            </a:r>
            <a:endParaRPr lang="en-US" sz="20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6172200" y="3718236"/>
            <a:ext cx="22442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dirty="0" smtClean="0"/>
              <a:t>Secure service dollars through Medicaid </a:t>
            </a:r>
            <a:endParaRPr lang="en-US" sz="2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115" y="2962877"/>
            <a:ext cx="822960" cy="69494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831" y="2962877"/>
            <a:ext cx="822960" cy="694944"/>
          </a:xfrm>
          <a:prstGeom prst="rect">
            <a:avLst/>
          </a:prstGeom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260" y="2991428"/>
            <a:ext cx="810092" cy="839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qual 8"/>
          <p:cNvSpPr/>
          <p:nvPr/>
        </p:nvSpPr>
        <p:spPr>
          <a:xfrm>
            <a:off x="2667000" y="3176988"/>
            <a:ext cx="609600" cy="541248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Plus 9"/>
          <p:cNvSpPr/>
          <p:nvPr/>
        </p:nvSpPr>
        <p:spPr>
          <a:xfrm>
            <a:off x="5574329" y="3239509"/>
            <a:ext cx="594558" cy="59098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437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smtClean="0">
                <a:solidFill>
                  <a:srgbClr val="658D1B"/>
                </a:solidFill>
              </a:rPr>
              <a:t>Previous Ecosystem</a:t>
            </a:r>
            <a:endParaRPr lang="en-US" sz="3200" b="1" dirty="0">
              <a:solidFill>
                <a:srgbClr val="658D1B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186" y="2133600"/>
            <a:ext cx="8635306" cy="41148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chemeClr val="accent6"/>
                </a:solidFill>
                <a:ea typeface="Arial" charset="0"/>
                <a:cs typeface="Arial" charset="0"/>
              </a:rPr>
              <a:t>the way a homeless person accessed services previously: </a:t>
            </a:r>
            <a:endParaRPr lang="en-US" sz="1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38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04800" y="1600200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07B00"/>
                </a:solidFill>
              </a:rPr>
              <a:t>Permanent housing subsidy + services</a:t>
            </a:r>
            <a:endParaRPr lang="en-US" sz="3200" b="1" dirty="0">
              <a:solidFill>
                <a:srgbClr val="F07B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08796" y="6338500"/>
            <a:ext cx="723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Flaming</a:t>
            </a:r>
            <a:r>
              <a:rPr lang="en-US" sz="1200" dirty="0" smtClean="0"/>
              <a:t>, 2009; </a:t>
            </a:r>
            <a:r>
              <a:rPr lang="en-US" sz="1200" dirty="0" err="1" smtClean="0"/>
              <a:t>Culhane</a:t>
            </a:r>
            <a:r>
              <a:rPr lang="en-US" sz="1200" dirty="0" smtClean="0"/>
              <a:t>, 2002; Larimer, 2009; </a:t>
            </a:r>
            <a:r>
              <a:rPr lang="en-US" sz="1200" dirty="0" err="1" smtClean="0"/>
              <a:t>Sadowski</a:t>
            </a:r>
            <a:r>
              <a:rPr lang="en-US" sz="1200" dirty="0" smtClean="0"/>
              <a:t>, 2009</a:t>
            </a:r>
            <a:endParaRPr lang="en-US" sz="12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95851" y="53340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chemeClr val="bg1"/>
                </a:solidFill>
                <a:latin typeface="+mn-lt"/>
              </a:rPr>
              <a:t>PSH yields results</a:t>
            </a:r>
            <a:endParaRPr lang="en-US" sz="2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95400" y="2195161"/>
            <a:ext cx="6400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5E514D"/>
                </a:solidFill>
              </a:rPr>
              <a:t>Most cost effective intervention for most costly </a:t>
            </a:r>
            <a:r>
              <a:rPr lang="en-US" sz="2000" dirty="0" smtClean="0">
                <a:solidFill>
                  <a:srgbClr val="5E514D"/>
                </a:solidFill>
              </a:rPr>
              <a:t>consumers</a:t>
            </a:r>
            <a:endParaRPr lang="en-US" sz="2000" dirty="0">
              <a:solidFill>
                <a:srgbClr val="5E514D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24617" y="2926954"/>
            <a:ext cx="1524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rgbClr val="5E514D"/>
                </a:solidFill>
              </a:rPr>
              <a:t>82%</a:t>
            </a:r>
            <a:endParaRPr lang="en-US" sz="6000" b="1" dirty="0"/>
          </a:p>
        </p:txBody>
      </p:sp>
      <p:sp>
        <p:nvSpPr>
          <p:cNvPr id="10" name="Down Arrow 9"/>
          <p:cNvSpPr/>
          <p:nvPr/>
        </p:nvSpPr>
        <p:spPr>
          <a:xfrm>
            <a:off x="2819400" y="3124200"/>
            <a:ext cx="457200" cy="609600"/>
          </a:xfrm>
          <a:prstGeom prst="downArrow">
            <a:avLst/>
          </a:prstGeom>
          <a:solidFill>
            <a:srgbClr val="F0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741102" y="3751971"/>
            <a:ext cx="27742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5E514D"/>
                </a:solidFill>
              </a:rPr>
              <a:t>reduction in public costs</a:t>
            </a:r>
            <a:endParaRPr lang="en-US" sz="20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841094" y="3048000"/>
            <a:ext cx="21990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Probation</a:t>
            </a:r>
          </a:p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Emergency room</a:t>
            </a:r>
          </a:p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Sheriff’s dept.</a:t>
            </a:r>
          </a:p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Jail day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63992" y="3048000"/>
            <a:ext cx="24942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Public benefits</a:t>
            </a:r>
          </a:p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Emergency shelter</a:t>
            </a:r>
          </a:p>
          <a:p>
            <a:pPr marL="285750" lvl="1" indent="-285750">
              <a:buFont typeface="Arial" charset="0"/>
              <a:buChar char="•"/>
            </a:pPr>
            <a:r>
              <a:rPr lang="en-US" dirty="0" smtClean="0">
                <a:solidFill>
                  <a:srgbClr val="5E514D"/>
                </a:solidFill>
              </a:rPr>
              <a:t>Inpatient </a:t>
            </a:r>
            <a:r>
              <a:rPr lang="en-US" dirty="0">
                <a:solidFill>
                  <a:srgbClr val="5E514D"/>
                </a:solidFill>
              </a:rPr>
              <a:t>care</a:t>
            </a:r>
          </a:p>
          <a:p>
            <a:pPr marL="285750" indent="-285750">
              <a:buFont typeface="Arial" charset="0"/>
              <a:buChar char="•"/>
            </a:pPr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733800" y="3048000"/>
            <a:ext cx="0" cy="1104081"/>
          </a:xfrm>
          <a:prstGeom prst="line">
            <a:avLst/>
          </a:prstGeom>
          <a:ln w="31750">
            <a:solidFill>
              <a:srgbClr val="E1D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45263" y="4561599"/>
            <a:ext cx="7930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4800" b="1" dirty="0">
                <a:solidFill>
                  <a:srgbClr val="5E514D"/>
                </a:solidFill>
              </a:rPr>
              <a:t>$</a:t>
            </a:r>
            <a:r>
              <a:rPr lang="en-US" sz="4800" b="1" dirty="0" smtClean="0">
                <a:solidFill>
                  <a:srgbClr val="5E514D"/>
                </a:solidFill>
              </a:rPr>
              <a:t>7100 - $</a:t>
            </a:r>
            <a:r>
              <a:rPr lang="en-US" sz="4800" b="1" dirty="0">
                <a:solidFill>
                  <a:srgbClr val="5E514D"/>
                </a:solidFill>
              </a:rPr>
              <a:t>38,046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65334" y="5267539"/>
            <a:ext cx="46402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5E514D"/>
                </a:solidFill>
              </a:rPr>
              <a:t>Cost savings realized per person per year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66766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373434" y="2795016"/>
            <a:ext cx="34290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800" dirty="0" smtClean="0"/>
              <a:t>$500K+ </a:t>
            </a:r>
            <a:r>
              <a:rPr lang="en-US" sz="2800" dirty="0" smtClean="0"/>
              <a:t>leveraging TANF</a:t>
            </a:r>
            <a:endParaRPr lang="en-US" sz="28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57200" y="5257800"/>
            <a:ext cx="8229599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Time-limited </a:t>
            </a:r>
            <a:r>
              <a:rPr lang="en-US" dirty="0" smtClean="0"/>
              <a:t>rental assistance and case management to help people experiencing homelessness find private-market housing and quickly re-house and stabilize individuals and families</a:t>
            </a:r>
          </a:p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95851" y="53340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chemeClr val="bg1"/>
                </a:solidFill>
                <a:latin typeface="+mn-lt"/>
              </a:rPr>
              <a:t>Families</a:t>
            </a:r>
            <a:endParaRPr lang="en-US" sz="2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9651" y="1307812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07B00"/>
                </a:solidFill>
              </a:rPr>
              <a:t>Taking Rapid </a:t>
            </a:r>
            <a:r>
              <a:rPr lang="en-US" sz="3200" b="1" dirty="0" smtClean="0">
                <a:solidFill>
                  <a:srgbClr val="F07B00"/>
                </a:solidFill>
              </a:rPr>
              <a:t>Rehousing </a:t>
            </a:r>
            <a:r>
              <a:rPr lang="en-US" sz="3200" b="1" dirty="0" smtClean="0">
                <a:solidFill>
                  <a:srgbClr val="F07B00"/>
                </a:solidFill>
              </a:rPr>
              <a:t>To Scale</a:t>
            </a:r>
            <a:endParaRPr lang="en-US" sz="3200" b="1" dirty="0">
              <a:solidFill>
                <a:srgbClr val="F07B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3893" y="2795016"/>
            <a:ext cx="37895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800" dirty="0" smtClean="0"/>
              <a:t>300+ </a:t>
            </a:r>
            <a:r>
              <a:rPr lang="en-US" sz="2800" dirty="0" smtClean="0"/>
              <a:t>interventions</a:t>
            </a:r>
            <a:endParaRPr lang="en-US" sz="2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6773" y="1959712"/>
            <a:ext cx="822960" cy="69494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1997812"/>
            <a:ext cx="871728" cy="588264"/>
          </a:xfrm>
          <a:prstGeom prst="rect">
            <a:avLst/>
          </a:prstGeom>
        </p:spPr>
      </p:pic>
      <p:pic>
        <p:nvPicPr>
          <p:cNvPr id="2050" name="Picture 2" descr="Image result for affordability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3764744"/>
            <a:ext cx="2362200" cy="1211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505199" y="3929756"/>
            <a:ext cx="51816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lso, considering innovations for prevention in partnership with eviction legal assistance, a bridging affordability pilot, and innovative uses of voucher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83810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95851" y="53340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chemeClr val="bg1"/>
                </a:solidFill>
                <a:latin typeface="+mn-lt"/>
              </a:rPr>
              <a:t>Youth</a:t>
            </a:r>
            <a:endParaRPr lang="en-US" sz="2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1600200"/>
            <a:ext cx="8382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07B00"/>
                </a:solidFill>
              </a:rPr>
              <a:t>Spectrum of </a:t>
            </a:r>
            <a:r>
              <a:rPr lang="en-US" sz="3200" b="1" dirty="0" smtClean="0">
                <a:solidFill>
                  <a:srgbClr val="F07B00"/>
                </a:solidFill>
              </a:rPr>
              <a:t>Interventions: </a:t>
            </a:r>
            <a:r>
              <a:rPr lang="en-US" sz="3200" b="1" dirty="0" smtClean="0">
                <a:solidFill>
                  <a:srgbClr val="7AA6C5"/>
                </a:solidFill>
              </a:rPr>
              <a:t>youth are different</a:t>
            </a:r>
            <a:endParaRPr lang="en-US" sz="3200" b="1" dirty="0">
              <a:solidFill>
                <a:srgbClr val="7AA6C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" y="3657600"/>
            <a:ext cx="1828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dirty="0" smtClean="0"/>
              <a:t>360+ interventions of </a:t>
            </a:r>
            <a:r>
              <a:rPr lang="en-US" sz="2000" smtClean="0"/>
              <a:t>youth specific </a:t>
            </a:r>
            <a:r>
              <a:rPr lang="en-US" sz="2000" b="1" smtClean="0"/>
              <a:t>rapid </a:t>
            </a:r>
            <a:r>
              <a:rPr lang="en-US" sz="2000" b="1" dirty="0" smtClean="0"/>
              <a:t>rehousing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200400" y="3657600"/>
            <a:ext cx="2590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b="1" dirty="0"/>
              <a:t>Host home model </a:t>
            </a:r>
            <a:r>
              <a:rPr lang="en-US" sz="2000" b="1" dirty="0" smtClean="0"/>
              <a:t>–</a:t>
            </a:r>
            <a:r>
              <a:rPr lang="en-US" sz="2000" dirty="0" smtClean="0"/>
              <a:t>pairing </a:t>
            </a:r>
            <a:r>
              <a:rPr lang="en-US" sz="2000" dirty="0"/>
              <a:t>LGBTQ youth </a:t>
            </a:r>
            <a:r>
              <a:rPr lang="en-US" sz="2000" dirty="0" smtClean="0"/>
              <a:t>with </a:t>
            </a:r>
            <a:r>
              <a:rPr lang="en-US" sz="2000" dirty="0"/>
              <a:t>LGBTQ families for temporary housing and service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248400" y="3657600"/>
            <a:ext cx="2133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dirty="0" smtClean="0"/>
              <a:t>30+ </a:t>
            </a:r>
            <a:r>
              <a:rPr lang="en-US" sz="2000" dirty="0"/>
              <a:t>units of </a:t>
            </a:r>
            <a:r>
              <a:rPr lang="en-US" sz="2000" b="1" dirty="0"/>
              <a:t>independent living</a:t>
            </a:r>
          </a:p>
          <a:p>
            <a:pPr algn="ctr"/>
            <a:endParaRPr lang="en-US" sz="2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520" y="2895600"/>
            <a:ext cx="822960" cy="69494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546" y="2895600"/>
            <a:ext cx="822960" cy="69494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526" y="2895600"/>
            <a:ext cx="822960" cy="69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9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892300"/>
            <a:ext cx="8754867" cy="481330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>
                <a:solidFill>
                  <a:srgbClr val="658D1B"/>
                </a:solidFill>
              </a:rPr>
              <a:t>Guiding Principle 3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solidFill>
                  <a:srgbClr val="658D1B"/>
                </a:solidFill>
                <a:latin typeface="Arial" charset="0"/>
                <a:ea typeface="Arial" charset="0"/>
                <a:cs typeface="Arial" charset="0"/>
              </a:rPr>
              <a:t>Realign and Leverage Resources</a:t>
            </a:r>
            <a:endParaRPr lang="en-US" sz="2400" b="1" dirty="0">
              <a:solidFill>
                <a:srgbClr val="658D1B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7039" y="2133600"/>
            <a:ext cx="8229600" cy="74676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Create an unprecedented public-private partnership</a:t>
            </a:r>
            <a:endParaRPr lang="en-US" sz="2400" dirty="0">
              <a:solidFill>
                <a:srgbClr val="5E514D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609600" y="2692400"/>
            <a:ext cx="2413000" cy="2413000"/>
          </a:xfrm>
          <a:prstGeom prst="ellipse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63600" y="2997200"/>
            <a:ext cx="1905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ransparent </a:t>
            </a:r>
            <a:r>
              <a:rPr lang="en-US" b="1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lignment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with </a:t>
            </a:r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city and state entitlement dollars across </a:t>
            </a:r>
            <a:r>
              <a:rPr lang="en-US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CoC</a:t>
            </a:r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syste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241040" y="2692400"/>
            <a:ext cx="2413000" cy="2413000"/>
          </a:xfrm>
          <a:prstGeom prst="ellipse">
            <a:avLst/>
          </a:prstGeom>
          <a:solidFill>
            <a:srgbClr val="F07B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498593" y="2997200"/>
            <a:ext cx="1905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Fiscal scan and gaps analysis </a:t>
            </a:r>
            <a:endParaRPr lang="en-US" dirty="0" smtClean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f</a:t>
            </a:r>
            <a:r>
              <a:rPr lang="en-US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or </a:t>
            </a:r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ccountability, needs-based redistribution and unmet needs rank lis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5867400" y="2692400"/>
            <a:ext cx="2413000" cy="2413000"/>
          </a:xfrm>
          <a:prstGeom prst="ellipse">
            <a:avLst/>
          </a:prstGeom>
          <a:solidFill>
            <a:srgbClr val="658D1B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124953" y="2997200"/>
            <a:ext cx="1905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b="1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lign funding </a:t>
            </a:r>
            <a:r>
              <a:rPr lang="en-US" b="1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ecisions</a:t>
            </a:r>
          </a:p>
          <a:p>
            <a:pPr lvl="0" algn="ctr"/>
            <a:r>
              <a:rPr lang="en-US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of </a:t>
            </a:r>
            <a:r>
              <a:rPr lang="en-US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private sector grants with Collective Impact Model criteri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2400" y="283031"/>
            <a:ext cx="121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>
                    <a:alpha val="27000"/>
                  </a:schemeClr>
                </a:solidFill>
              </a:rPr>
              <a:t>3</a:t>
            </a:r>
            <a:endParaRPr lang="en-US" sz="7200" b="1" dirty="0">
              <a:solidFill>
                <a:schemeClr val="bg1">
                  <a:alpha val="27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79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260103299"/>
              </p:ext>
            </p:extLst>
          </p:nvPr>
        </p:nvGraphicFramePr>
        <p:xfrm>
          <a:off x="685800" y="1295400"/>
          <a:ext cx="7620000" cy="4960716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2540000"/>
                <a:gridCol w="2540000"/>
                <a:gridCol w="2540000"/>
              </a:tblGrid>
              <a:tr h="380373">
                <a:tc>
                  <a:txBody>
                    <a:bodyPr/>
                    <a:lstStyle/>
                    <a:p>
                      <a:r>
                        <a:rPr lang="en-US" dirty="0" smtClean="0"/>
                        <a:t>City</a:t>
                      </a:r>
                      <a:endParaRPr lang="en-US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C</a:t>
                      </a:r>
                      <a:r>
                        <a:rPr lang="en-US" baseline="0" dirty="0" smtClean="0"/>
                        <a:t> Funding</a:t>
                      </a:r>
                      <a:endParaRPr lang="en-US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lanning Grant (~2.8%)</a:t>
                      </a:r>
                      <a:endParaRPr lang="en-US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8524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rgbClr val="FF0000"/>
                          </a:solidFill>
                        </a:rPr>
                        <a:t>Atlanta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rgbClr val="FF0000"/>
                          </a:solidFill>
                        </a:rPr>
                        <a:t>$7.2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rgbClr val="FF0000"/>
                          </a:solidFill>
                        </a:rPr>
                        <a:t>$201,000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Orlando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7.5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210,0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Minneapolis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12.3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344,4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Dallas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16.2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453,6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ortland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22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616,0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Washington</a:t>
                      </a:r>
                      <a:r>
                        <a:rPr lang="en-US" sz="1800" b="1" baseline="0" dirty="0" smtClean="0"/>
                        <a:t>, DC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22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616,0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hoenix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25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/>
                        <a:t>$700,000</a:t>
                      </a:r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Denver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25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/>
                        <a:t>$700,000</a:t>
                      </a:r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Miami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30.6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856,8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Houston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33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924,0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Philadelphia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33.8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946,4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  <a:tr h="380373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Seattle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35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$980,000</a:t>
                      </a:r>
                      <a:endParaRPr lang="en-US" sz="1800" b="1" dirty="0"/>
                    </a:p>
                  </a:txBody>
                  <a:tcPr>
                    <a:solidFill>
                      <a:srgbClr val="E1D555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28600" y="609600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</a:rPr>
              <a:t>HUD CoC Funding, 2017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6437411"/>
            <a:ext cx="762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https://www.hud.gov/program_offices/comm_planning/homeless/budget/2017</a:t>
            </a:r>
          </a:p>
        </p:txBody>
      </p:sp>
    </p:spTree>
    <p:extLst>
      <p:ext uri="{BB962C8B-B14F-4D97-AF65-F5344CB8AC3E}">
        <p14:creationId xmlns:p14="http://schemas.microsoft.com/office/powerpoint/2010/main" val="3796797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960" y="2759282"/>
            <a:ext cx="3668848" cy="377060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880" y="2772614"/>
            <a:ext cx="3619771" cy="3720165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95851" y="63325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dirty="0" smtClean="0">
                <a:solidFill>
                  <a:schemeClr val="bg1"/>
                </a:solidFill>
              </a:rPr>
              <a:t>Current Investment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524000"/>
            <a:ext cx="3972561" cy="8585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cap="all" dirty="0">
                <a:solidFill>
                  <a:srgbClr val="F07B00"/>
                </a:solidFill>
              </a:rPr>
              <a:t>Only ~25% of funding is spent on permanent solutions and…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683759" y="1524000"/>
            <a:ext cx="3972561" cy="8585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cap="all" dirty="0">
                <a:solidFill>
                  <a:srgbClr val="7AA6C5"/>
                </a:solidFill>
              </a:rPr>
              <a:t>…only ~20% and ~5% are spent on permanent supportive housing and rapid re-housing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05000" y="6396335"/>
            <a:ext cx="69048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</a:t>
            </a:r>
            <a:r>
              <a:rPr lang="en-US" sz="1200" dirty="0"/>
              <a:t>: 2017 Service Provider Survey (N = 47); </a:t>
            </a:r>
          </a:p>
          <a:p>
            <a:pPr algn="r"/>
            <a:endParaRPr lang="en-US" sz="800" dirty="0"/>
          </a:p>
        </p:txBody>
      </p:sp>
      <p:sp>
        <p:nvSpPr>
          <p:cNvPr id="11" name="RedCircle2"/>
          <p:cNvSpPr>
            <a:spLocks noEditPoints="1"/>
          </p:cNvSpPr>
          <p:nvPr/>
        </p:nvSpPr>
        <p:spPr bwMode="auto">
          <a:xfrm>
            <a:off x="3690001" y="3505200"/>
            <a:ext cx="521031" cy="439508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F07B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dCircle2"/>
          <p:cNvSpPr>
            <a:spLocks noEditPoints="1"/>
          </p:cNvSpPr>
          <p:nvPr/>
        </p:nvSpPr>
        <p:spPr bwMode="auto">
          <a:xfrm>
            <a:off x="3690001" y="4818292"/>
            <a:ext cx="521031" cy="439508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F07B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dCircle2"/>
          <p:cNvSpPr>
            <a:spLocks noEditPoints="1"/>
          </p:cNvSpPr>
          <p:nvPr/>
        </p:nvSpPr>
        <p:spPr bwMode="auto">
          <a:xfrm>
            <a:off x="8001000" y="3423658"/>
            <a:ext cx="531740" cy="233942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F07B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dCircle2"/>
          <p:cNvSpPr>
            <a:spLocks noEditPoints="1"/>
          </p:cNvSpPr>
          <p:nvPr/>
        </p:nvSpPr>
        <p:spPr bwMode="auto">
          <a:xfrm>
            <a:off x="7989180" y="3657600"/>
            <a:ext cx="531740" cy="233942"/>
          </a:xfrm>
          <a:custGeom>
            <a:avLst/>
            <a:gdLst>
              <a:gd name="T0" fmla="*/ 1538 w 1776"/>
              <a:gd name="T1" fmla="*/ 876 h 1168"/>
              <a:gd name="T2" fmla="*/ 1733 w 1776"/>
              <a:gd name="T3" fmla="*/ 464 h 1168"/>
              <a:gd name="T4" fmla="*/ 1538 w 1776"/>
              <a:gd name="T5" fmla="*/ 883 h 1168"/>
              <a:gd name="T6" fmla="*/ 1664 w 1776"/>
              <a:gd name="T7" fmla="*/ 286 h 1168"/>
              <a:gd name="T8" fmla="*/ 553 w 1776"/>
              <a:gd name="T9" fmla="*/ 1111 h 1168"/>
              <a:gd name="T10" fmla="*/ 70 w 1776"/>
              <a:gd name="T11" fmla="*/ 921 h 1168"/>
              <a:gd name="T12" fmla="*/ 239 w 1776"/>
              <a:gd name="T13" fmla="*/ 515 h 1168"/>
              <a:gd name="T14" fmla="*/ 1482 w 1776"/>
              <a:gd name="T15" fmla="*/ 927 h 1168"/>
              <a:gd name="T16" fmla="*/ 145 w 1776"/>
              <a:gd name="T17" fmla="*/ 604 h 1168"/>
              <a:gd name="T18" fmla="*/ 1620 w 1776"/>
              <a:gd name="T19" fmla="*/ 807 h 1168"/>
              <a:gd name="T20" fmla="*/ 327 w 1776"/>
              <a:gd name="T21" fmla="*/ 451 h 1168"/>
              <a:gd name="T22" fmla="*/ 1733 w 1776"/>
              <a:gd name="T23" fmla="*/ 515 h 1168"/>
              <a:gd name="T24" fmla="*/ 1011 w 1776"/>
              <a:gd name="T25" fmla="*/ 235 h 1168"/>
              <a:gd name="T26" fmla="*/ 1726 w 1776"/>
              <a:gd name="T27" fmla="*/ 400 h 1168"/>
              <a:gd name="T28" fmla="*/ 1532 w 1776"/>
              <a:gd name="T29" fmla="*/ 115 h 1168"/>
              <a:gd name="T30" fmla="*/ 653 w 1776"/>
              <a:gd name="T31" fmla="*/ 58 h 1168"/>
              <a:gd name="T32" fmla="*/ 1726 w 1776"/>
              <a:gd name="T33" fmla="*/ 292 h 1168"/>
              <a:gd name="T34" fmla="*/ 1776 w 1776"/>
              <a:gd name="T35" fmla="*/ 489 h 1168"/>
              <a:gd name="T36" fmla="*/ 1325 w 1776"/>
              <a:gd name="T37" fmla="*/ 997 h 1168"/>
              <a:gd name="T38" fmla="*/ 998 w 1776"/>
              <a:gd name="T39" fmla="*/ 32 h 1168"/>
              <a:gd name="T40" fmla="*/ 904 w 1776"/>
              <a:gd name="T41" fmla="*/ 39 h 1168"/>
              <a:gd name="T42" fmla="*/ 1475 w 1776"/>
              <a:gd name="T43" fmla="*/ 121 h 1168"/>
              <a:gd name="T44" fmla="*/ 13 w 1776"/>
              <a:gd name="T45" fmla="*/ 870 h 1168"/>
              <a:gd name="T46" fmla="*/ 1695 w 1776"/>
              <a:gd name="T47" fmla="*/ 324 h 1168"/>
              <a:gd name="T48" fmla="*/ 1400 w 1776"/>
              <a:gd name="T49" fmla="*/ 972 h 1168"/>
              <a:gd name="T50" fmla="*/ 1055 w 1776"/>
              <a:gd name="T51" fmla="*/ 204 h 1168"/>
              <a:gd name="T52" fmla="*/ 854 w 1776"/>
              <a:gd name="T53" fmla="*/ 229 h 1168"/>
              <a:gd name="T54" fmla="*/ 923 w 1776"/>
              <a:gd name="T55" fmla="*/ 216 h 1168"/>
              <a:gd name="T56" fmla="*/ 653 w 1776"/>
              <a:gd name="T57" fmla="*/ 261 h 1168"/>
              <a:gd name="T58" fmla="*/ 44 w 1776"/>
              <a:gd name="T59" fmla="*/ 680 h 1168"/>
              <a:gd name="T60" fmla="*/ 44 w 1776"/>
              <a:gd name="T61" fmla="*/ 953 h 1168"/>
              <a:gd name="T62" fmla="*/ 1739 w 1776"/>
              <a:gd name="T63" fmla="*/ 318 h 1168"/>
              <a:gd name="T64" fmla="*/ 1532 w 1776"/>
              <a:gd name="T65" fmla="*/ 115 h 1168"/>
              <a:gd name="T66" fmla="*/ 647 w 1776"/>
              <a:gd name="T67" fmla="*/ 64 h 1168"/>
              <a:gd name="T68" fmla="*/ 1023 w 1776"/>
              <a:gd name="T69" fmla="*/ 20 h 1168"/>
              <a:gd name="T70" fmla="*/ 973 w 1776"/>
              <a:gd name="T71" fmla="*/ 32 h 1168"/>
              <a:gd name="T72" fmla="*/ 1645 w 1776"/>
              <a:gd name="T73" fmla="*/ 242 h 1168"/>
              <a:gd name="T74" fmla="*/ 1739 w 1776"/>
              <a:gd name="T75" fmla="*/ 572 h 1168"/>
              <a:gd name="T76" fmla="*/ 1607 w 1776"/>
              <a:gd name="T77" fmla="*/ 832 h 1168"/>
              <a:gd name="T78" fmla="*/ 1475 w 1776"/>
              <a:gd name="T79" fmla="*/ 934 h 1168"/>
              <a:gd name="T80" fmla="*/ 1525 w 1776"/>
              <a:gd name="T81" fmla="*/ 889 h 1168"/>
              <a:gd name="T82" fmla="*/ 936 w 1776"/>
              <a:gd name="T83" fmla="*/ 1099 h 1168"/>
              <a:gd name="T84" fmla="*/ 1055 w 1776"/>
              <a:gd name="T85" fmla="*/ 1080 h 1168"/>
              <a:gd name="T86" fmla="*/ 270 w 1776"/>
              <a:gd name="T87" fmla="*/ 1067 h 1168"/>
              <a:gd name="T88" fmla="*/ 101 w 1776"/>
              <a:gd name="T89" fmla="*/ 965 h 1168"/>
              <a:gd name="T90" fmla="*/ 440 w 1776"/>
              <a:gd name="T91" fmla="*/ 381 h 1168"/>
              <a:gd name="T92" fmla="*/ 1067 w 1776"/>
              <a:gd name="T93" fmla="*/ 229 h 1168"/>
              <a:gd name="T94" fmla="*/ 948 w 1776"/>
              <a:gd name="T95" fmla="*/ 223 h 1168"/>
              <a:gd name="T96" fmla="*/ 760 w 1776"/>
              <a:gd name="T97" fmla="*/ 242 h 1168"/>
              <a:gd name="T98" fmla="*/ 321 w 1776"/>
              <a:gd name="T99" fmla="*/ 419 h 1168"/>
              <a:gd name="T100" fmla="*/ 829 w 1776"/>
              <a:gd name="T101" fmla="*/ 223 h 1168"/>
              <a:gd name="T102" fmla="*/ 164 w 1776"/>
              <a:gd name="T103" fmla="*/ 527 h 1168"/>
              <a:gd name="T104" fmla="*/ 95 w 1776"/>
              <a:gd name="T105" fmla="*/ 1022 h 1168"/>
              <a:gd name="T106" fmla="*/ 979 w 1776"/>
              <a:gd name="T107" fmla="*/ 1137 h 1168"/>
              <a:gd name="T108" fmla="*/ 1456 w 1776"/>
              <a:gd name="T109" fmla="*/ 984 h 1168"/>
              <a:gd name="T110" fmla="*/ 1764 w 1776"/>
              <a:gd name="T111" fmla="*/ 635 h 1168"/>
              <a:gd name="T112" fmla="*/ 19 w 1776"/>
              <a:gd name="T113" fmla="*/ 756 h 1168"/>
              <a:gd name="T114" fmla="*/ 1701 w 1776"/>
              <a:gd name="T115" fmla="*/ 248 h 1168"/>
              <a:gd name="T116" fmla="*/ 214 w 1776"/>
              <a:gd name="T117" fmla="*/ 1086 h 1168"/>
              <a:gd name="T118" fmla="*/ 57 w 1776"/>
              <a:gd name="T119" fmla="*/ 648 h 1168"/>
              <a:gd name="T120" fmla="*/ 597 w 1776"/>
              <a:gd name="T121" fmla="*/ 1168 h 1168"/>
              <a:gd name="T122" fmla="*/ 132 w 1776"/>
              <a:gd name="T123" fmla="*/ 1048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76" h="1168">
                <a:moveTo>
                  <a:pt x="1620" y="242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0" y="235"/>
                  <a:pt x="1620" y="235"/>
                  <a:pt x="1620" y="242"/>
                </a:cubicBezTo>
                <a:close/>
                <a:moveTo>
                  <a:pt x="1645" y="254"/>
                </a:move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26" y="235"/>
                  <a:pt x="1626" y="235"/>
                </a:cubicBezTo>
                <a:cubicBezTo>
                  <a:pt x="1626" y="235"/>
                  <a:pt x="1632" y="242"/>
                  <a:pt x="1645" y="254"/>
                </a:cubicBezTo>
                <a:close/>
                <a:moveTo>
                  <a:pt x="1488" y="908"/>
                </a:moveTo>
                <a:cubicBezTo>
                  <a:pt x="1488" y="908"/>
                  <a:pt x="1488" y="908"/>
                  <a:pt x="1488" y="908"/>
                </a:cubicBezTo>
                <a:cubicBezTo>
                  <a:pt x="1488" y="908"/>
                  <a:pt x="1488" y="908"/>
                  <a:pt x="1488" y="908"/>
                </a:cubicBezTo>
                <a:close/>
                <a:moveTo>
                  <a:pt x="1488" y="908"/>
                </a:moveTo>
                <a:cubicBezTo>
                  <a:pt x="1482" y="908"/>
                  <a:pt x="1488" y="908"/>
                  <a:pt x="1475" y="921"/>
                </a:cubicBezTo>
                <a:cubicBezTo>
                  <a:pt x="1482" y="908"/>
                  <a:pt x="1488" y="908"/>
                  <a:pt x="1488" y="908"/>
                </a:cubicBezTo>
                <a:close/>
                <a:moveTo>
                  <a:pt x="408" y="400"/>
                </a:moveTo>
                <a:cubicBezTo>
                  <a:pt x="415" y="400"/>
                  <a:pt x="421" y="394"/>
                  <a:pt x="433" y="394"/>
                </a:cubicBezTo>
                <a:cubicBezTo>
                  <a:pt x="433" y="394"/>
                  <a:pt x="433" y="394"/>
                  <a:pt x="415" y="400"/>
                </a:cubicBezTo>
                <a:cubicBezTo>
                  <a:pt x="415" y="400"/>
                  <a:pt x="415" y="400"/>
                  <a:pt x="408" y="400"/>
                </a:cubicBezTo>
                <a:close/>
                <a:moveTo>
                  <a:pt x="333" y="451"/>
                </a:moveTo>
                <a:cubicBezTo>
                  <a:pt x="333" y="451"/>
                  <a:pt x="333" y="451"/>
                  <a:pt x="308" y="464"/>
                </a:cubicBezTo>
                <a:cubicBezTo>
                  <a:pt x="327" y="451"/>
                  <a:pt x="352" y="445"/>
                  <a:pt x="364" y="432"/>
                </a:cubicBezTo>
                <a:cubicBezTo>
                  <a:pt x="377" y="426"/>
                  <a:pt x="390" y="419"/>
                  <a:pt x="408" y="407"/>
                </a:cubicBezTo>
                <a:cubicBezTo>
                  <a:pt x="383" y="426"/>
                  <a:pt x="358" y="438"/>
                  <a:pt x="333" y="451"/>
                </a:cubicBezTo>
                <a:close/>
                <a:moveTo>
                  <a:pt x="396" y="1092"/>
                </a:moveTo>
                <a:cubicBezTo>
                  <a:pt x="408" y="1092"/>
                  <a:pt x="408" y="1092"/>
                  <a:pt x="408" y="1092"/>
                </a:cubicBezTo>
                <a:cubicBezTo>
                  <a:pt x="396" y="1092"/>
                  <a:pt x="408" y="1092"/>
                  <a:pt x="396" y="1092"/>
                </a:cubicBezTo>
                <a:close/>
                <a:moveTo>
                  <a:pt x="1312" y="997"/>
                </a:moveTo>
                <a:cubicBezTo>
                  <a:pt x="1318" y="997"/>
                  <a:pt x="1318" y="997"/>
                  <a:pt x="1325" y="991"/>
                </a:cubicBezTo>
                <a:cubicBezTo>
                  <a:pt x="1318" y="997"/>
                  <a:pt x="1318" y="997"/>
                  <a:pt x="1312" y="997"/>
                </a:cubicBezTo>
                <a:close/>
                <a:moveTo>
                  <a:pt x="590" y="1124"/>
                </a:moveTo>
                <a:cubicBezTo>
                  <a:pt x="584" y="1124"/>
                  <a:pt x="572" y="1124"/>
                  <a:pt x="553" y="1124"/>
                </a:cubicBezTo>
                <a:cubicBezTo>
                  <a:pt x="565" y="1124"/>
                  <a:pt x="578" y="1124"/>
                  <a:pt x="590" y="1124"/>
                </a:cubicBezTo>
                <a:close/>
                <a:moveTo>
                  <a:pt x="1381" y="972"/>
                </a:moveTo>
                <a:cubicBezTo>
                  <a:pt x="1394" y="965"/>
                  <a:pt x="1400" y="965"/>
                  <a:pt x="1400" y="965"/>
                </a:cubicBezTo>
                <a:cubicBezTo>
                  <a:pt x="1394" y="965"/>
                  <a:pt x="1387" y="972"/>
                  <a:pt x="1381" y="972"/>
                </a:cubicBezTo>
                <a:cubicBezTo>
                  <a:pt x="1381" y="972"/>
                  <a:pt x="1381" y="972"/>
                  <a:pt x="1375" y="972"/>
                </a:cubicBezTo>
                <a:cubicBezTo>
                  <a:pt x="1394" y="965"/>
                  <a:pt x="1387" y="972"/>
                  <a:pt x="1381" y="972"/>
                </a:cubicBezTo>
                <a:close/>
                <a:moveTo>
                  <a:pt x="1538" y="876"/>
                </a:moveTo>
                <a:cubicBezTo>
                  <a:pt x="1538" y="883"/>
                  <a:pt x="1532" y="883"/>
                  <a:pt x="1525" y="889"/>
                </a:cubicBezTo>
                <a:cubicBezTo>
                  <a:pt x="1532" y="889"/>
                  <a:pt x="1532" y="883"/>
                  <a:pt x="1538" y="883"/>
                </a:cubicBezTo>
                <a:cubicBezTo>
                  <a:pt x="1538" y="876"/>
                  <a:pt x="1538" y="876"/>
                  <a:pt x="1538" y="876"/>
                </a:cubicBezTo>
                <a:close/>
                <a:moveTo>
                  <a:pt x="546" y="1124"/>
                </a:moveTo>
                <a:cubicBezTo>
                  <a:pt x="553" y="1124"/>
                  <a:pt x="565" y="1124"/>
                  <a:pt x="578" y="1124"/>
                </a:cubicBezTo>
                <a:cubicBezTo>
                  <a:pt x="572" y="1124"/>
                  <a:pt x="572" y="1124"/>
                  <a:pt x="572" y="1124"/>
                </a:cubicBezTo>
                <a:cubicBezTo>
                  <a:pt x="546" y="1124"/>
                  <a:pt x="546" y="1124"/>
                  <a:pt x="546" y="1124"/>
                </a:cubicBezTo>
                <a:close/>
                <a:moveTo>
                  <a:pt x="1670" y="750"/>
                </a:moveTo>
                <a:cubicBezTo>
                  <a:pt x="1682" y="743"/>
                  <a:pt x="1670" y="750"/>
                  <a:pt x="1682" y="737"/>
                </a:cubicBezTo>
                <a:cubicBezTo>
                  <a:pt x="1689" y="730"/>
                  <a:pt x="1701" y="705"/>
                  <a:pt x="1707" y="692"/>
                </a:cubicBezTo>
                <a:cubicBezTo>
                  <a:pt x="1701" y="705"/>
                  <a:pt x="1701" y="705"/>
                  <a:pt x="1695" y="718"/>
                </a:cubicBezTo>
                <a:cubicBezTo>
                  <a:pt x="1695" y="705"/>
                  <a:pt x="1701" y="705"/>
                  <a:pt x="1701" y="692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9"/>
                  <a:pt x="1701" y="699"/>
                  <a:pt x="1701" y="699"/>
                </a:cubicBezTo>
                <a:cubicBezTo>
                  <a:pt x="1701" y="699"/>
                  <a:pt x="1701" y="699"/>
                  <a:pt x="1701" y="692"/>
                </a:cubicBezTo>
                <a:cubicBezTo>
                  <a:pt x="1701" y="692"/>
                  <a:pt x="1701" y="692"/>
                  <a:pt x="1701" y="692"/>
                </a:cubicBezTo>
                <a:cubicBezTo>
                  <a:pt x="1707" y="692"/>
                  <a:pt x="1707" y="686"/>
                  <a:pt x="1707" y="686"/>
                </a:cubicBezTo>
                <a:cubicBezTo>
                  <a:pt x="1707" y="680"/>
                  <a:pt x="1714" y="673"/>
                  <a:pt x="1714" y="673"/>
                </a:cubicBezTo>
                <a:cubicBezTo>
                  <a:pt x="1714" y="667"/>
                  <a:pt x="1714" y="661"/>
                  <a:pt x="1720" y="661"/>
                </a:cubicBezTo>
                <a:cubicBezTo>
                  <a:pt x="1720" y="654"/>
                  <a:pt x="1720" y="654"/>
                  <a:pt x="1720" y="654"/>
                </a:cubicBezTo>
                <a:cubicBezTo>
                  <a:pt x="1720" y="654"/>
                  <a:pt x="1714" y="661"/>
                  <a:pt x="1714" y="667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20" y="654"/>
                  <a:pt x="1720" y="648"/>
                  <a:pt x="1720" y="648"/>
                </a:cubicBezTo>
                <a:cubicBezTo>
                  <a:pt x="1720" y="642"/>
                  <a:pt x="1720" y="648"/>
                  <a:pt x="1720" y="642"/>
                </a:cubicBezTo>
                <a:cubicBezTo>
                  <a:pt x="1726" y="635"/>
                  <a:pt x="1726" y="635"/>
                  <a:pt x="1726" y="635"/>
                </a:cubicBezTo>
                <a:cubicBezTo>
                  <a:pt x="1720" y="642"/>
                  <a:pt x="1720" y="648"/>
                  <a:pt x="1720" y="654"/>
                </a:cubicBezTo>
                <a:cubicBezTo>
                  <a:pt x="1726" y="642"/>
                  <a:pt x="1726" y="635"/>
                  <a:pt x="1733" y="604"/>
                </a:cubicBezTo>
                <a:cubicBezTo>
                  <a:pt x="1733" y="604"/>
                  <a:pt x="1733" y="604"/>
                  <a:pt x="1726" y="629"/>
                </a:cubicBezTo>
                <a:cubicBezTo>
                  <a:pt x="1726" y="610"/>
                  <a:pt x="1733" y="604"/>
                  <a:pt x="1733" y="604"/>
                </a:cubicBezTo>
                <a:cubicBezTo>
                  <a:pt x="1726" y="623"/>
                  <a:pt x="1726" y="623"/>
                  <a:pt x="1726" y="623"/>
                </a:cubicBezTo>
                <a:cubicBezTo>
                  <a:pt x="1733" y="604"/>
                  <a:pt x="1733" y="610"/>
                  <a:pt x="1733" y="604"/>
                </a:cubicBezTo>
                <a:cubicBezTo>
                  <a:pt x="1733" y="597"/>
                  <a:pt x="1733" y="591"/>
                  <a:pt x="1739" y="572"/>
                </a:cubicBezTo>
                <a:cubicBezTo>
                  <a:pt x="1739" y="565"/>
                  <a:pt x="1739" y="565"/>
                  <a:pt x="1733" y="584"/>
                </a:cubicBezTo>
                <a:cubicBezTo>
                  <a:pt x="1739" y="546"/>
                  <a:pt x="1739" y="527"/>
                  <a:pt x="1739" y="470"/>
                </a:cubicBezTo>
                <a:cubicBezTo>
                  <a:pt x="1739" y="464"/>
                  <a:pt x="1739" y="464"/>
                  <a:pt x="1739" y="464"/>
                </a:cubicBezTo>
                <a:cubicBezTo>
                  <a:pt x="1739" y="464"/>
                  <a:pt x="1739" y="464"/>
                  <a:pt x="1739" y="451"/>
                </a:cubicBezTo>
                <a:cubicBezTo>
                  <a:pt x="1733" y="451"/>
                  <a:pt x="1733" y="451"/>
                  <a:pt x="1733" y="451"/>
                </a:cubicBezTo>
                <a:cubicBezTo>
                  <a:pt x="1733" y="451"/>
                  <a:pt x="1733" y="451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70"/>
                  <a:pt x="1733" y="464"/>
                  <a:pt x="1733" y="470"/>
                </a:cubicBezTo>
                <a:cubicBezTo>
                  <a:pt x="1739" y="477"/>
                  <a:pt x="1739" y="483"/>
                  <a:pt x="1739" y="483"/>
                </a:cubicBezTo>
                <a:cubicBezTo>
                  <a:pt x="1739" y="483"/>
                  <a:pt x="1739" y="483"/>
                  <a:pt x="1739" y="483"/>
                </a:cubicBezTo>
                <a:cubicBezTo>
                  <a:pt x="1739" y="489"/>
                  <a:pt x="1739" y="489"/>
                  <a:pt x="1739" y="477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9" y="477"/>
                  <a:pt x="1739" y="477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34"/>
                  <a:pt x="1739" y="540"/>
                  <a:pt x="1739" y="553"/>
                </a:cubicBezTo>
                <a:cubicBezTo>
                  <a:pt x="1733" y="572"/>
                  <a:pt x="1733" y="572"/>
                  <a:pt x="1733" y="572"/>
                </a:cubicBezTo>
                <a:cubicBezTo>
                  <a:pt x="1733" y="584"/>
                  <a:pt x="1733" y="597"/>
                  <a:pt x="1726" y="604"/>
                </a:cubicBezTo>
                <a:cubicBezTo>
                  <a:pt x="1726" y="623"/>
                  <a:pt x="1726" y="635"/>
                  <a:pt x="1720" y="648"/>
                </a:cubicBezTo>
                <a:cubicBezTo>
                  <a:pt x="1720" y="648"/>
                  <a:pt x="1720" y="642"/>
                  <a:pt x="1720" y="654"/>
                </a:cubicBezTo>
                <a:cubicBezTo>
                  <a:pt x="1714" y="661"/>
                  <a:pt x="1714" y="661"/>
                  <a:pt x="1714" y="661"/>
                </a:cubicBezTo>
                <a:cubicBezTo>
                  <a:pt x="1701" y="699"/>
                  <a:pt x="1689" y="730"/>
                  <a:pt x="1651" y="775"/>
                </a:cubicBezTo>
                <a:cubicBezTo>
                  <a:pt x="1651" y="769"/>
                  <a:pt x="1664" y="762"/>
                  <a:pt x="1670" y="750"/>
                </a:cubicBezTo>
                <a:close/>
                <a:moveTo>
                  <a:pt x="1733" y="464"/>
                </a:moveTo>
                <a:cubicBezTo>
                  <a:pt x="1733" y="464"/>
                  <a:pt x="1733" y="464"/>
                  <a:pt x="1733" y="458"/>
                </a:cubicBezTo>
                <a:cubicBezTo>
                  <a:pt x="1733" y="464"/>
                  <a:pt x="1733" y="464"/>
                  <a:pt x="1733" y="464"/>
                </a:cubicBezTo>
                <a:cubicBezTo>
                  <a:pt x="1733" y="464"/>
                  <a:pt x="1733" y="464"/>
                  <a:pt x="1733" y="464"/>
                </a:cubicBezTo>
                <a:close/>
                <a:moveTo>
                  <a:pt x="998" y="1086"/>
                </a:moveTo>
                <a:cubicBezTo>
                  <a:pt x="1017" y="1086"/>
                  <a:pt x="1017" y="1086"/>
                  <a:pt x="1017" y="1086"/>
                </a:cubicBezTo>
                <a:cubicBezTo>
                  <a:pt x="1011" y="1086"/>
                  <a:pt x="1011" y="1086"/>
                  <a:pt x="998" y="1086"/>
                </a:cubicBezTo>
                <a:close/>
                <a:moveTo>
                  <a:pt x="1733" y="464"/>
                </a:moveTo>
                <a:cubicBezTo>
                  <a:pt x="1733" y="458"/>
                  <a:pt x="1733" y="458"/>
                  <a:pt x="1733" y="458"/>
                </a:cubicBezTo>
                <a:cubicBezTo>
                  <a:pt x="1733" y="458"/>
                  <a:pt x="1733" y="458"/>
                  <a:pt x="1733" y="464"/>
                </a:cubicBezTo>
                <a:close/>
                <a:moveTo>
                  <a:pt x="603" y="1124"/>
                </a:moveTo>
                <a:cubicBezTo>
                  <a:pt x="590" y="1124"/>
                  <a:pt x="584" y="1124"/>
                  <a:pt x="578" y="1124"/>
                </a:cubicBezTo>
                <a:cubicBezTo>
                  <a:pt x="578" y="1124"/>
                  <a:pt x="590" y="1124"/>
                  <a:pt x="603" y="1124"/>
                </a:cubicBezTo>
                <a:close/>
                <a:moveTo>
                  <a:pt x="1011" y="1086"/>
                </a:moveTo>
                <a:cubicBezTo>
                  <a:pt x="1011" y="1086"/>
                  <a:pt x="1011" y="1086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1011" y="1086"/>
                  <a:pt x="1011" y="1086"/>
                  <a:pt x="1011" y="1086"/>
                </a:cubicBezTo>
                <a:close/>
                <a:moveTo>
                  <a:pt x="1030" y="1080"/>
                </a:moveTo>
                <a:cubicBezTo>
                  <a:pt x="1023" y="1080"/>
                  <a:pt x="1017" y="1086"/>
                  <a:pt x="1011" y="1086"/>
                </a:cubicBezTo>
                <a:cubicBezTo>
                  <a:pt x="1017" y="1086"/>
                  <a:pt x="1023" y="1080"/>
                  <a:pt x="1030" y="1080"/>
                </a:cubicBezTo>
                <a:cubicBezTo>
                  <a:pt x="1030" y="1080"/>
                  <a:pt x="1030" y="1080"/>
                  <a:pt x="1030" y="1080"/>
                </a:cubicBezTo>
                <a:close/>
                <a:moveTo>
                  <a:pt x="1325" y="991"/>
                </a:moveTo>
                <a:cubicBezTo>
                  <a:pt x="1325" y="991"/>
                  <a:pt x="1331" y="991"/>
                  <a:pt x="1337" y="991"/>
                </a:cubicBezTo>
                <a:cubicBezTo>
                  <a:pt x="1337" y="991"/>
                  <a:pt x="1331" y="991"/>
                  <a:pt x="1325" y="991"/>
                </a:cubicBezTo>
                <a:close/>
                <a:moveTo>
                  <a:pt x="1538" y="883"/>
                </a:moveTo>
                <a:cubicBezTo>
                  <a:pt x="1538" y="883"/>
                  <a:pt x="1538" y="883"/>
                  <a:pt x="1538" y="883"/>
                </a:cubicBezTo>
                <a:cubicBezTo>
                  <a:pt x="1544" y="883"/>
                  <a:pt x="1544" y="883"/>
                  <a:pt x="1544" y="883"/>
                </a:cubicBezTo>
                <a:cubicBezTo>
                  <a:pt x="1544" y="876"/>
                  <a:pt x="1544" y="876"/>
                  <a:pt x="1551" y="876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57" y="870"/>
                  <a:pt x="1557" y="870"/>
                  <a:pt x="1557" y="870"/>
                </a:cubicBezTo>
                <a:cubicBezTo>
                  <a:pt x="1551" y="870"/>
                  <a:pt x="1551" y="870"/>
                  <a:pt x="1551" y="870"/>
                </a:cubicBezTo>
                <a:cubicBezTo>
                  <a:pt x="1544" y="876"/>
                  <a:pt x="1544" y="876"/>
                  <a:pt x="1525" y="889"/>
                </a:cubicBezTo>
                <a:cubicBezTo>
                  <a:pt x="1525" y="896"/>
                  <a:pt x="1525" y="896"/>
                  <a:pt x="1525" y="896"/>
                </a:cubicBezTo>
                <a:cubicBezTo>
                  <a:pt x="1532" y="889"/>
                  <a:pt x="1538" y="883"/>
                  <a:pt x="1538" y="883"/>
                </a:cubicBezTo>
                <a:cubicBezTo>
                  <a:pt x="1538" y="883"/>
                  <a:pt x="1538" y="883"/>
                  <a:pt x="1538" y="883"/>
                </a:cubicBezTo>
                <a:close/>
                <a:moveTo>
                  <a:pt x="998" y="1086"/>
                </a:moveTo>
                <a:cubicBezTo>
                  <a:pt x="998" y="1086"/>
                  <a:pt x="998" y="1086"/>
                  <a:pt x="998" y="1086"/>
                </a:cubicBezTo>
                <a:cubicBezTo>
                  <a:pt x="998" y="1086"/>
                  <a:pt x="998" y="1086"/>
                  <a:pt x="992" y="1086"/>
                </a:cubicBezTo>
                <a:cubicBezTo>
                  <a:pt x="998" y="1086"/>
                  <a:pt x="998" y="1086"/>
                  <a:pt x="998" y="1086"/>
                </a:cubicBezTo>
                <a:close/>
                <a:moveTo>
                  <a:pt x="615" y="1124"/>
                </a:moveTo>
                <a:cubicBezTo>
                  <a:pt x="628" y="1124"/>
                  <a:pt x="622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1" y="1124"/>
                  <a:pt x="641" y="1124"/>
                </a:cubicBezTo>
                <a:cubicBezTo>
                  <a:pt x="641" y="1124"/>
                  <a:pt x="647" y="1124"/>
                  <a:pt x="653" y="1124"/>
                </a:cubicBezTo>
                <a:cubicBezTo>
                  <a:pt x="653" y="1124"/>
                  <a:pt x="653" y="1124"/>
                  <a:pt x="653" y="1124"/>
                </a:cubicBezTo>
                <a:cubicBezTo>
                  <a:pt x="634" y="1124"/>
                  <a:pt x="615" y="1124"/>
                  <a:pt x="603" y="1124"/>
                </a:cubicBezTo>
                <a:cubicBezTo>
                  <a:pt x="609" y="1124"/>
                  <a:pt x="609" y="1124"/>
                  <a:pt x="615" y="1124"/>
                </a:cubicBezTo>
                <a:close/>
                <a:moveTo>
                  <a:pt x="1701" y="692"/>
                </a:moveTo>
                <a:cubicBezTo>
                  <a:pt x="1701" y="699"/>
                  <a:pt x="1701" y="699"/>
                  <a:pt x="1701" y="699"/>
                </a:cubicBezTo>
                <a:cubicBezTo>
                  <a:pt x="1701" y="692"/>
                  <a:pt x="1701" y="692"/>
                  <a:pt x="1701" y="692"/>
                </a:cubicBezTo>
                <a:close/>
                <a:moveTo>
                  <a:pt x="873" y="1105"/>
                </a:moveTo>
                <a:cubicBezTo>
                  <a:pt x="879" y="1105"/>
                  <a:pt x="879" y="1105"/>
                  <a:pt x="879" y="1105"/>
                </a:cubicBezTo>
                <a:cubicBezTo>
                  <a:pt x="904" y="1099"/>
                  <a:pt x="923" y="1099"/>
                  <a:pt x="936" y="1099"/>
                </a:cubicBezTo>
                <a:cubicBezTo>
                  <a:pt x="942" y="1099"/>
                  <a:pt x="942" y="1099"/>
                  <a:pt x="942" y="1099"/>
                </a:cubicBezTo>
                <a:cubicBezTo>
                  <a:pt x="942" y="1099"/>
                  <a:pt x="942" y="1099"/>
                  <a:pt x="942" y="1092"/>
                </a:cubicBezTo>
                <a:cubicBezTo>
                  <a:pt x="942" y="1099"/>
                  <a:pt x="936" y="1099"/>
                  <a:pt x="936" y="1099"/>
                </a:cubicBezTo>
                <a:cubicBezTo>
                  <a:pt x="910" y="1099"/>
                  <a:pt x="885" y="1105"/>
                  <a:pt x="873" y="1105"/>
                </a:cubicBezTo>
                <a:close/>
                <a:moveTo>
                  <a:pt x="992" y="1086"/>
                </a:moveTo>
                <a:cubicBezTo>
                  <a:pt x="986" y="1086"/>
                  <a:pt x="986" y="1092"/>
                  <a:pt x="986" y="1092"/>
                </a:cubicBezTo>
                <a:cubicBezTo>
                  <a:pt x="986" y="1086"/>
                  <a:pt x="992" y="1086"/>
                  <a:pt x="992" y="1086"/>
                </a:cubicBezTo>
                <a:close/>
                <a:moveTo>
                  <a:pt x="1168" y="1048"/>
                </a:moveTo>
                <a:cubicBezTo>
                  <a:pt x="1180" y="1048"/>
                  <a:pt x="1168" y="1048"/>
                  <a:pt x="1193" y="1042"/>
                </a:cubicBezTo>
                <a:cubicBezTo>
                  <a:pt x="1193" y="1042"/>
                  <a:pt x="1193" y="1042"/>
                  <a:pt x="1168" y="1048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lose/>
                <a:moveTo>
                  <a:pt x="1664" y="286"/>
                </a:move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ubicBezTo>
                  <a:pt x="1664" y="286"/>
                  <a:pt x="1664" y="286"/>
                  <a:pt x="1664" y="286"/>
                </a:cubicBezTo>
                <a:close/>
                <a:moveTo>
                  <a:pt x="258" y="502"/>
                </a:moveTo>
                <a:cubicBezTo>
                  <a:pt x="258" y="502"/>
                  <a:pt x="258" y="502"/>
                  <a:pt x="264" y="502"/>
                </a:cubicBezTo>
                <a:cubicBezTo>
                  <a:pt x="264" y="496"/>
                  <a:pt x="264" y="496"/>
                  <a:pt x="270" y="496"/>
                </a:cubicBezTo>
                <a:cubicBezTo>
                  <a:pt x="264" y="502"/>
                  <a:pt x="258" y="502"/>
                  <a:pt x="258" y="502"/>
                </a:cubicBezTo>
                <a:cubicBezTo>
                  <a:pt x="258" y="502"/>
                  <a:pt x="258" y="502"/>
                  <a:pt x="258" y="502"/>
                </a:cubicBezTo>
                <a:cubicBezTo>
                  <a:pt x="251" y="508"/>
                  <a:pt x="251" y="508"/>
                  <a:pt x="251" y="508"/>
                </a:cubicBezTo>
                <a:cubicBezTo>
                  <a:pt x="239" y="515"/>
                  <a:pt x="226" y="527"/>
                  <a:pt x="226" y="534"/>
                </a:cubicBezTo>
                <a:cubicBezTo>
                  <a:pt x="214" y="540"/>
                  <a:pt x="226" y="534"/>
                  <a:pt x="226" y="534"/>
                </a:cubicBezTo>
                <a:cubicBezTo>
                  <a:pt x="226" y="534"/>
                  <a:pt x="226" y="534"/>
                  <a:pt x="208" y="546"/>
                </a:cubicBezTo>
                <a:cubicBezTo>
                  <a:pt x="208" y="546"/>
                  <a:pt x="208" y="546"/>
                  <a:pt x="195" y="553"/>
                </a:cubicBezTo>
                <a:cubicBezTo>
                  <a:pt x="176" y="572"/>
                  <a:pt x="120" y="642"/>
                  <a:pt x="95" y="673"/>
                </a:cubicBezTo>
                <a:cubicBezTo>
                  <a:pt x="95" y="680"/>
                  <a:pt x="88" y="692"/>
                  <a:pt x="82" y="699"/>
                </a:cubicBezTo>
                <a:cubicBezTo>
                  <a:pt x="88" y="686"/>
                  <a:pt x="95" y="673"/>
                  <a:pt x="107" y="661"/>
                </a:cubicBezTo>
                <a:cubicBezTo>
                  <a:pt x="120" y="642"/>
                  <a:pt x="132" y="629"/>
                  <a:pt x="145" y="610"/>
                </a:cubicBezTo>
                <a:cubicBezTo>
                  <a:pt x="145" y="610"/>
                  <a:pt x="145" y="610"/>
                  <a:pt x="139" y="629"/>
                </a:cubicBezTo>
                <a:cubicBezTo>
                  <a:pt x="176" y="572"/>
                  <a:pt x="208" y="540"/>
                  <a:pt x="308" y="470"/>
                </a:cubicBezTo>
                <a:cubicBezTo>
                  <a:pt x="295" y="477"/>
                  <a:pt x="277" y="489"/>
                  <a:pt x="258" y="502"/>
                </a:cubicBezTo>
                <a:close/>
                <a:moveTo>
                  <a:pt x="195" y="1029"/>
                </a:moveTo>
                <a:cubicBezTo>
                  <a:pt x="195" y="1029"/>
                  <a:pt x="195" y="1029"/>
                  <a:pt x="195" y="1029"/>
                </a:cubicBezTo>
                <a:cubicBezTo>
                  <a:pt x="195" y="1029"/>
                  <a:pt x="195" y="1029"/>
                  <a:pt x="195" y="1029"/>
                </a:cubicBezTo>
                <a:close/>
                <a:moveTo>
                  <a:pt x="189" y="1022"/>
                </a:moveTo>
                <a:cubicBezTo>
                  <a:pt x="189" y="1022"/>
                  <a:pt x="189" y="1022"/>
                  <a:pt x="189" y="1022"/>
                </a:cubicBezTo>
                <a:cubicBezTo>
                  <a:pt x="195" y="1029"/>
                  <a:pt x="195" y="1029"/>
                  <a:pt x="195" y="1029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lose/>
                <a:moveTo>
                  <a:pt x="390" y="1092"/>
                </a:moveTo>
                <a:cubicBezTo>
                  <a:pt x="371" y="1086"/>
                  <a:pt x="358" y="1080"/>
                  <a:pt x="346" y="1080"/>
                </a:cubicBezTo>
                <a:cubicBezTo>
                  <a:pt x="358" y="1086"/>
                  <a:pt x="371" y="1086"/>
                  <a:pt x="390" y="1092"/>
                </a:cubicBezTo>
                <a:close/>
                <a:moveTo>
                  <a:pt x="553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53" y="1111"/>
                </a:moveTo>
                <a:cubicBezTo>
                  <a:pt x="565" y="1111"/>
                  <a:pt x="565" y="1111"/>
                  <a:pt x="553" y="1111"/>
                </a:cubicBez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2" y="1111"/>
                </a:cubicBezTo>
                <a:cubicBezTo>
                  <a:pt x="565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46" y="1111"/>
                </a:moveTo>
                <a:cubicBezTo>
                  <a:pt x="546" y="1111"/>
                  <a:pt x="546" y="1111"/>
                  <a:pt x="546" y="1111"/>
                </a:cubicBezTo>
                <a:cubicBezTo>
                  <a:pt x="540" y="1111"/>
                  <a:pt x="540" y="1111"/>
                  <a:pt x="540" y="1111"/>
                </a:cubicBezTo>
                <a:cubicBezTo>
                  <a:pt x="546" y="1111"/>
                  <a:pt x="546" y="1111"/>
                  <a:pt x="546" y="1111"/>
                </a:cubicBezTo>
                <a:close/>
                <a:moveTo>
                  <a:pt x="540" y="1111"/>
                </a:moveTo>
                <a:cubicBezTo>
                  <a:pt x="534" y="1111"/>
                  <a:pt x="534" y="1111"/>
                  <a:pt x="521" y="1111"/>
                </a:cubicBezTo>
                <a:cubicBezTo>
                  <a:pt x="528" y="1111"/>
                  <a:pt x="534" y="1111"/>
                  <a:pt x="540" y="1111"/>
                </a:cubicBezTo>
                <a:close/>
                <a:moveTo>
                  <a:pt x="597" y="1111"/>
                </a:moveTo>
                <a:cubicBezTo>
                  <a:pt x="590" y="1111"/>
                  <a:pt x="584" y="1111"/>
                  <a:pt x="584" y="1111"/>
                </a:cubicBezTo>
                <a:cubicBezTo>
                  <a:pt x="584" y="1111"/>
                  <a:pt x="584" y="1111"/>
                  <a:pt x="584" y="1111"/>
                </a:cubicBezTo>
                <a:cubicBezTo>
                  <a:pt x="584" y="1111"/>
                  <a:pt x="590" y="1111"/>
                  <a:pt x="597" y="1111"/>
                </a:cubicBezTo>
                <a:close/>
                <a:moveTo>
                  <a:pt x="553" y="1111"/>
                </a:move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ubicBezTo>
                  <a:pt x="553" y="1111"/>
                  <a:pt x="553" y="1111"/>
                  <a:pt x="553" y="1111"/>
                </a:cubicBezTo>
                <a:close/>
                <a:moveTo>
                  <a:pt x="565" y="1111"/>
                </a:moveTo>
                <a:cubicBezTo>
                  <a:pt x="565" y="1111"/>
                  <a:pt x="565" y="1111"/>
                  <a:pt x="572" y="1111"/>
                </a:cubicBezTo>
                <a:cubicBezTo>
                  <a:pt x="572" y="1111"/>
                  <a:pt x="572" y="1111"/>
                  <a:pt x="578" y="1111"/>
                </a:cubicBezTo>
                <a:cubicBezTo>
                  <a:pt x="572" y="1111"/>
                  <a:pt x="572" y="1111"/>
                  <a:pt x="565" y="1111"/>
                </a:cubicBezTo>
                <a:close/>
                <a:moveTo>
                  <a:pt x="1682" y="299"/>
                </a:moveTo>
                <a:cubicBezTo>
                  <a:pt x="1670" y="292"/>
                  <a:pt x="1670" y="292"/>
                  <a:pt x="1670" y="292"/>
                </a:cubicBezTo>
                <a:cubicBezTo>
                  <a:pt x="1682" y="299"/>
                  <a:pt x="1670" y="292"/>
                  <a:pt x="1682" y="299"/>
                </a:cubicBezTo>
                <a:close/>
                <a:moveTo>
                  <a:pt x="120" y="972"/>
                </a:moveTo>
                <a:cubicBezTo>
                  <a:pt x="107" y="965"/>
                  <a:pt x="107" y="965"/>
                  <a:pt x="101" y="959"/>
                </a:cubicBezTo>
                <a:cubicBezTo>
                  <a:pt x="107" y="965"/>
                  <a:pt x="107" y="965"/>
                  <a:pt x="120" y="972"/>
                </a:cubicBezTo>
                <a:close/>
                <a:moveTo>
                  <a:pt x="251" y="496"/>
                </a:moveTo>
                <a:cubicBezTo>
                  <a:pt x="251" y="502"/>
                  <a:pt x="251" y="502"/>
                  <a:pt x="251" y="502"/>
                </a:cubicBezTo>
                <a:cubicBezTo>
                  <a:pt x="251" y="496"/>
                  <a:pt x="251" y="496"/>
                  <a:pt x="251" y="496"/>
                </a:cubicBezTo>
                <a:cubicBezTo>
                  <a:pt x="251" y="496"/>
                  <a:pt x="251" y="496"/>
                  <a:pt x="251" y="496"/>
                </a:cubicBezTo>
                <a:close/>
                <a:moveTo>
                  <a:pt x="321" y="451"/>
                </a:moveTo>
                <a:cubicBezTo>
                  <a:pt x="308" y="464"/>
                  <a:pt x="283" y="477"/>
                  <a:pt x="258" y="496"/>
                </a:cubicBezTo>
                <a:cubicBezTo>
                  <a:pt x="283" y="477"/>
                  <a:pt x="302" y="464"/>
                  <a:pt x="321" y="451"/>
                </a:cubicBezTo>
                <a:close/>
                <a:moveTo>
                  <a:pt x="76" y="927"/>
                </a:moveTo>
                <a:cubicBezTo>
                  <a:pt x="76" y="921"/>
                  <a:pt x="70" y="921"/>
                  <a:pt x="70" y="921"/>
                </a:cubicBezTo>
                <a:cubicBezTo>
                  <a:pt x="70" y="921"/>
                  <a:pt x="76" y="921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lose/>
                <a:moveTo>
                  <a:pt x="264" y="489"/>
                </a:moveTo>
                <a:cubicBezTo>
                  <a:pt x="264" y="496"/>
                  <a:pt x="258" y="496"/>
                  <a:pt x="251" y="496"/>
                </a:cubicBezTo>
                <a:cubicBezTo>
                  <a:pt x="264" y="489"/>
                  <a:pt x="264" y="489"/>
                  <a:pt x="264" y="489"/>
                </a:cubicBezTo>
                <a:close/>
                <a:moveTo>
                  <a:pt x="572" y="1124"/>
                </a:moveTo>
                <a:cubicBezTo>
                  <a:pt x="578" y="1124"/>
                  <a:pt x="578" y="1124"/>
                  <a:pt x="578" y="1124"/>
                </a:cubicBezTo>
                <a:cubicBezTo>
                  <a:pt x="578" y="1124"/>
                  <a:pt x="578" y="1124"/>
                  <a:pt x="572" y="1124"/>
                </a:cubicBezTo>
                <a:close/>
                <a:moveTo>
                  <a:pt x="1023" y="235"/>
                </a:moveTo>
                <a:cubicBezTo>
                  <a:pt x="1023" y="235"/>
                  <a:pt x="1023" y="235"/>
                  <a:pt x="992" y="235"/>
                </a:cubicBezTo>
                <a:cubicBezTo>
                  <a:pt x="998" y="235"/>
                  <a:pt x="1017" y="235"/>
                  <a:pt x="1023" y="235"/>
                </a:cubicBezTo>
                <a:cubicBezTo>
                  <a:pt x="1023" y="235"/>
                  <a:pt x="1023" y="235"/>
                  <a:pt x="1023" y="235"/>
                </a:cubicBezTo>
                <a:close/>
                <a:moveTo>
                  <a:pt x="1048" y="235"/>
                </a:moveTo>
                <a:cubicBezTo>
                  <a:pt x="1042" y="235"/>
                  <a:pt x="1030" y="235"/>
                  <a:pt x="1023" y="235"/>
                </a:cubicBezTo>
                <a:cubicBezTo>
                  <a:pt x="1036" y="235"/>
                  <a:pt x="1023" y="235"/>
                  <a:pt x="1042" y="235"/>
                </a:cubicBezTo>
                <a:cubicBezTo>
                  <a:pt x="1048" y="235"/>
                  <a:pt x="1048" y="235"/>
                  <a:pt x="1048" y="235"/>
                </a:cubicBezTo>
                <a:close/>
                <a:moveTo>
                  <a:pt x="503" y="1105"/>
                </a:moveTo>
                <a:cubicBezTo>
                  <a:pt x="496" y="1105"/>
                  <a:pt x="496" y="1105"/>
                  <a:pt x="496" y="1105"/>
                </a:cubicBezTo>
                <a:cubicBezTo>
                  <a:pt x="515" y="1111"/>
                  <a:pt x="503" y="1105"/>
                  <a:pt x="503" y="1105"/>
                </a:cubicBezTo>
                <a:close/>
                <a:moveTo>
                  <a:pt x="779" y="267"/>
                </a:moveTo>
                <a:cubicBezTo>
                  <a:pt x="779" y="267"/>
                  <a:pt x="779" y="267"/>
                  <a:pt x="779" y="267"/>
                </a:cubicBezTo>
                <a:cubicBezTo>
                  <a:pt x="779" y="267"/>
                  <a:pt x="779" y="267"/>
                  <a:pt x="779" y="267"/>
                </a:cubicBezTo>
                <a:cubicBezTo>
                  <a:pt x="791" y="267"/>
                  <a:pt x="797" y="267"/>
                  <a:pt x="810" y="261"/>
                </a:cubicBezTo>
                <a:cubicBezTo>
                  <a:pt x="829" y="261"/>
                  <a:pt x="848" y="254"/>
                  <a:pt x="867" y="254"/>
                </a:cubicBezTo>
                <a:cubicBezTo>
                  <a:pt x="873" y="254"/>
                  <a:pt x="873" y="254"/>
                  <a:pt x="873" y="254"/>
                </a:cubicBezTo>
                <a:cubicBezTo>
                  <a:pt x="873" y="248"/>
                  <a:pt x="873" y="248"/>
                  <a:pt x="873" y="248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85" y="248"/>
                  <a:pt x="885" y="248"/>
                  <a:pt x="854" y="254"/>
                </a:cubicBezTo>
                <a:cubicBezTo>
                  <a:pt x="835" y="254"/>
                  <a:pt x="816" y="261"/>
                  <a:pt x="791" y="267"/>
                </a:cubicBezTo>
                <a:cubicBezTo>
                  <a:pt x="791" y="267"/>
                  <a:pt x="791" y="267"/>
                  <a:pt x="791" y="267"/>
                </a:cubicBezTo>
                <a:cubicBezTo>
                  <a:pt x="760" y="273"/>
                  <a:pt x="760" y="273"/>
                  <a:pt x="760" y="273"/>
                </a:cubicBezTo>
                <a:cubicBezTo>
                  <a:pt x="766" y="273"/>
                  <a:pt x="766" y="273"/>
                  <a:pt x="766" y="273"/>
                </a:cubicBezTo>
                <a:cubicBezTo>
                  <a:pt x="747" y="273"/>
                  <a:pt x="722" y="280"/>
                  <a:pt x="703" y="286"/>
                </a:cubicBezTo>
                <a:cubicBezTo>
                  <a:pt x="703" y="286"/>
                  <a:pt x="710" y="286"/>
                  <a:pt x="747" y="273"/>
                </a:cubicBezTo>
                <a:cubicBezTo>
                  <a:pt x="747" y="280"/>
                  <a:pt x="741" y="280"/>
                  <a:pt x="741" y="280"/>
                </a:cubicBezTo>
                <a:cubicBezTo>
                  <a:pt x="754" y="273"/>
                  <a:pt x="760" y="273"/>
                  <a:pt x="779" y="267"/>
                </a:cubicBezTo>
                <a:close/>
                <a:moveTo>
                  <a:pt x="239" y="515"/>
                </a:moveTo>
                <a:cubicBezTo>
                  <a:pt x="251" y="508"/>
                  <a:pt x="251" y="508"/>
                  <a:pt x="258" y="502"/>
                </a:cubicBezTo>
                <a:cubicBezTo>
                  <a:pt x="251" y="508"/>
                  <a:pt x="251" y="508"/>
                  <a:pt x="226" y="527"/>
                </a:cubicBezTo>
                <a:cubicBezTo>
                  <a:pt x="239" y="515"/>
                  <a:pt x="239" y="515"/>
                  <a:pt x="239" y="515"/>
                </a:cubicBezTo>
                <a:close/>
                <a:moveTo>
                  <a:pt x="214" y="1042"/>
                </a:moveTo>
                <a:cubicBezTo>
                  <a:pt x="239" y="1048"/>
                  <a:pt x="239" y="1048"/>
                  <a:pt x="239" y="1048"/>
                </a:cubicBezTo>
                <a:cubicBezTo>
                  <a:pt x="226" y="1042"/>
                  <a:pt x="239" y="1048"/>
                  <a:pt x="214" y="1042"/>
                </a:cubicBezTo>
                <a:close/>
                <a:moveTo>
                  <a:pt x="1444" y="934"/>
                </a:moveTo>
                <a:cubicBezTo>
                  <a:pt x="1431" y="946"/>
                  <a:pt x="1438" y="940"/>
                  <a:pt x="1431" y="946"/>
                </a:cubicBezTo>
                <a:cubicBezTo>
                  <a:pt x="1444" y="940"/>
                  <a:pt x="1444" y="934"/>
                  <a:pt x="1444" y="934"/>
                </a:cubicBezTo>
                <a:close/>
                <a:moveTo>
                  <a:pt x="433" y="1099"/>
                </a:moveTo>
                <a:cubicBezTo>
                  <a:pt x="433" y="1099"/>
                  <a:pt x="440" y="1099"/>
                  <a:pt x="459" y="1105"/>
                </a:cubicBezTo>
                <a:cubicBezTo>
                  <a:pt x="446" y="1105"/>
                  <a:pt x="440" y="1099"/>
                  <a:pt x="433" y="1099"/>
                </a:cubicBezTo>
                <a:close/>
                <a:moveTo>
                  <a:pt x="509" y="1111"/>
                </a:moveTo>
                <a:cubicBezTo>
                  <a:pt x="496" y="1111"/>
                  <a:pt x="484" y="1105"/>
                  <a:pt x="471" y="1105"/>
                </a:cubicBezTo>
                <a:cubicBezTo>
                  <a:pt x="477" y="1105"/>
                  <a:pt x="477" y="1105"/>
                  <a:pt x="496" y="1105"/>
                </a:cubicBezTo>
                <a:cubicBezTo>
                  <a:pt x="477" y="1105"/>
                  <a:pt x="477" y="1105"/>
                  <a:pt x="477" y="1105"/>
                </a:cubicBezTo>
                <a:cubicBezTo>
                  <a:pt x="477" y="1105"/>
                  <a:pt x="477" y="1105"/>
                  <a:pt x="471" y="1105"/>
                </a:cubicBezTo>
                <a:cubicBezTo>
                  <a:pt x="465" y="1105"/>
                  <a:pt x="465" y="1105"/>
                  <a:pt x="459" y="1105"/>
                </a:cubicBezTo>
                <a:cubicBezTo>
                  <a:pt x="465" y="1105"/>
                  <a:pt x="477" y="1105"/>
                  <a:pt x="484" y="1105"/>
                </a:cubicBezTo>
                <a:cubicBezTo>
                  <a:pt x="503" y="1111"/>
                  <a:pt x="509" y="1111"/>
                  <a:pt x="509" y="1111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31" y="946"/>
                  <a:pt x="1431" y="946"/>
                  <a:pt x="1431" y="946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270" y="496"/>
                </a:moveTo>
                <a:cubicBezTo>
                  <a:pt x="270" y="496"/>
                  <a:pt x="270" y="496"/>
                  <a:pt x="283" y="483"/>
                </a:cubicBezTo>
                <a:cubicBezTo>
                  <a:pt x="270" y="489"/>
                  <a:pt x="283" y="483"/>
                  <a:pt x="270" y="496"/>
                </a:cubicBezTo>
                <a:close/>
                <a:moveTo>
                  <a:pt x="1513" y="896"/>
                </a:moveTo>
                <a:cubicBezTo>
                  <a:pt x="1513" y="896"/>
                  <a:pt x="1513" y="896"/>
                  <a:pt x="1507" y="896"/>
                </a:cubicBezTo>
                <a:cubicBezTo>
                  <a:pt x="1482" y="921"/>
                  <a:pt x="1482" y="921"/>
                  <a:pt x="1482" y="927"/>
                </a:cubicBezTo>
                <a:cubicBezTo>
                  <a:pt x="1482" y="921"/>
                  <a:pt x="1482" y="921"/>
                  <a:pt x="1488" y="921"/>
                </a:cubicBezTo>
                <a:cubicBezTo>
                  <a:pt x="1488" y="921"/>
                  <a:pt x="1488" y="921"/>
                  <a:pt x="1507" y="902"/>
                </a:cubicBezTo>
                <a:cubicBezTo>
                  <a:pt x="1525" y="889"/>
                  <a:pt x="1532" y="883"/>
                  <a:pt x="1557" y="864"/>
                </a:cubicBezTo>
                <a:cubicBezTo>
                  <a:pt x="1582" y="845"/>
                  <a:pt x="1576" y="857"/>
                  <a:pt x="1582" y="851"/>
                </a:cubicBezTo>
                <a:cubicBezTo>
                  <a:pt x="1532" y="883"/>
                  <a:pt x="1519" y="889"/>
                  <a:pt x="1488" y="908"/>
                </a:cubicBezTo>
                <a:cubicBezTo>
                  <a:pt x="1482" y="921"/>
                  <a:pt x="1482" y="921"/>
                  <a:pt x="1482" y="921"/>
                </a:cubicBezTo>
                <a:cubicBezTo>
                  <a:pt x="1519" y="896"/>
                  <a:pt x="1544" y="876"/>
                  <a:pt x="1551" y="870"/>
                </a:cubicBezTo>
                <a:cubicBezTo>
                  <a:pt x="1551" y="870"/>
                  <a:pt x="1544" y="870"/>
                  <a:pt x="1544" y="876"/>
                </a:cubicBezTo>
                <a:cubicBezTo>
                  <a:pt x="1538" y="883"/>
                  <a:pt x="1532" y="883"/>
                  <a:pt x="1513" y="896"/>
                </a:cubicBezTo>
                <a:cubicBezTo>
                  <a:pt x="1513" y="896"/>
                  <a:pt x="1507" y="902"/>
                  <a:pt x="1513" y="896"/>
                </a:cubicBezTo>
                <a:close/>
                <a:moveTo>
                  <a:pt x="1482" y="927"/>
                </a:moveTo>
                <a:cubicBezTo>
                  <a:pt x="1469" y="934"/>
                  <a:pt x="1469" y="934"/>
                  <a:pt x="1469" y="934"/>
                </a:cubicBezTo>
                <a:cubicBezTo>
                  <a:pt x="1475" y="927"/>
                  <a:pt x="1475" y="927"/>
                  <a:pt x="1482" y="927"/>
                </a:cubicBezTo>
                <a:close/>
                <a:moveTo>
                  <a:pt x="1733" y="470"/>
                </a:moveTo>
                <a:cubicBezTo>
                  <a:pt x="1726" y="458"/>
                  <a:pt x="1726" y="438"/>
                  <a:pt x="1726" y="458"/>
                </a:cubicBezTo>
                <a:cubicBezTo>
                  <a:pt x="1733" y="470"/>
                  <a:pt x="1733" y="470"/>
                  <a:pt x="1733" y="470"/>
                </a:cubicBezTo>
                <a:close/>
                <a:moveTo>
                  <a:pt x="88" y="686"/>
                </a:moveTo>
                <a:cubicBezTo>
                  <a:pt x="88" y="686"/>
                  <a:pt x="88" y="686"/>
                  <a:pt x="76" y="705"/>
                </a:cubicBezTo>
                <a:cubicBezTo>
                  <a:pt x="57" y="750"/>
                  <a:pt x="63" y="743"/>
                  <a:pt x="51" y="775"/>
                </a:cubicBezTo>
                <a:cubicBezTo>
                  <a:pt x="51" y="794"/>
                  <a:pt x="51" y="788"/>
                  <a:pt x="51" y="800"/>
                </a:cubicBezTo>
                <a:cubicBezTo>
                  <a:pt x="57" y="769"/>
                  <a:pt x="57" y="769"/>
                  <a:pt x="70" y="730"/>
                </a:cubicBezTo>
                <a:cubicBezTo>
                  <a:pt x="63" y="743"/>
                  <a:pt x="63" y="750"/>
                  <a:pt x="57" y="762"/>
                </a:cubicBezTo>
                <a:cubicBezTo>
                  <a:pt x="63" y="750"/>
                  <a:pt x="70" y="730"/>
                  <a:pt x="76" y="718"/>
                </a:cubicBezTo>
                <a:cubicBezTo>
                  <a:pt x="82" y="699"/>
                  <a:pt x="82" y="692"/>
                  <a:pt x="88" y="686"/>
                </a:cubicBezTo>
                <a:close/>
                <a:moveTo>
                  <a:pt x="1456" y="934"/>
                </a:moveTo>
                <a:cubicBezTo>
                  <a:pt x="1463" y="934"/>
                  <a:pt x="1469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7"/>
                  <a:pt x="1475" y="927"/>
                  <a:pt x="1475" y="927"/>
                </a:cubicBezTo>
                <a:cubicBezTo>
                  <a:pt x="1475" y="921"/>
                  <a:pt x="1475" y="927"/>
                  <a:pt x="1475" y="921"/>
                </a:cubicBezTo>
                <a:cubicBezTo>
                  <a:pt x="1469" y="927"/>
                  <a:pt x="1469" y="927"/>
                  <a:pt x="1469" y="927"/>
                </a:cubicBezTo>
                <a:cubicBezTo>
                  <a:pt x="1463" y="927"/>
                  <a:pt x="1463" y="934"/>
                  <a:pt x="1456" y="934"/>
                </a:cubicBezTo>
                <a:close/>
                <a:moveTo>
                  <a:pt x="1444" y="940"/>
                </a:moveTo>
                <a:cubicBezTo>
                  <a:pt x="1456" y="934"/>
                  <a:pt x="1456" y="934"/>
                  <a:pt x="1456" y="934"/>
                </a:cubicBezTo>
                <a:cubicBezTo>
                  <a:pt x="1438" y="940"/>
                  <a:pt x="1431" y="946"/>
                  <a:pt x="1444" y="940"/>
                </a:cubicBezTo>
                <a:close/>
                <a:moveTo>
                  <a:pt x="1657" y="273"/>
                </a:moveTo>
                <a:cubicBezTo>
                  <a:pt x="1657" y="273"/>
                  <a:pt x="1657" y="273"/>
                  <a:pt x="1657" y="273"/>
                </a:cubicBezTo>
                <a:cubicBezTo>
                  <a:pt x="1657" y="273"/>
                  <a:pt x="1657" y="273"/>
                  <a:pt x="1657" y="273"/>
                </a:cubicBezTo>
                <a:cubicBezTo>
                  <a:pt x="1651" y="267"/>
                  <a:pt x="1651" y="267"/>
                  <a:pt x="1651" y="267"/>
                </a:cubicBezTo>
                <a:cubicBezTo>
                  <a:pt x="1664" y="280"/>
                  <a:pt x="1657" y="273"/>
                  <a:pt x="1664" y="286"/>
                </a:cubicBezTo>
                <a:cubicBezTo>
                  <a:pt x="1664" y="280"/>
                  <a:pt x="1664" y="280"/>
                  <a:pt x="1657" y="273"/>
                </a:cubicBezTo>
                <a:close/>
                <a:moveTo>
                  <a:pt x="1651" y="267"/>
                </a:moveTo>
                <a:cubicBezTo>
                  <a:pt x="1657" y="267"/>
                  <a:pt x="1657" y="273"/>
                  <a:pt x="1657" y="273"/>
                </a:cubicBezTo>
                <a:cubicBezTo>
                  <a:pt x="1657" y="267"/>
                  <a:pt x="1657" y="267"/>
                  <a:pt x="1651" y="267"/>
                </a:cubicBezTo>
                <a:close/>
                <a:moveTo>
                  <a:pt x="214" y="540"/>
                </a:moveTo>
                <a:cubicBezTo>
                  <a:pt x="226" y="527"/>
                  <a:pt x="245" y="515"/>
                  <a:pt x="258" y="502"/>
                </a:cubicBezTo>
                <a:cubicBezTo>
                  <a:pt x="239" y="515"/>
                  <a:pt x="226" y="527"/>
                  <a:pt x="214" y="540"/>
                </a:cubicBezTo>
                <a:close/>
                <a:moveTo>
                  <a:pt x="208" y="540"/>
                </a:moveTo>
                <a:cubicBezTo>
                  <a:pt x="214" y="540"/>
                  <a:pt x="214" y="540"/>
                  <a:pt x="214" y="534"/>
                </a:cubicBezTo>
                <a:cubicBezTo>
                  <a:pt x="208" y="546"/>
                  <a:pt x="201" y="546"/>
                  <a:pt x="208" y="540"/>
                </a:cubicBezTo>
                <a:close/>
                <a:moveTo>
                  <a:pt x="170" y="584"/>
                </a:moveTo>
                <a:cubicBezTo>
                  <a:pt x="176" y="578"/>
                  <a:pt x="176" y="572"/>
                  <a:pt x="182" y="565"/>
                </a:cubicBezTo>
                <a:cubicBezTo>
                  <a:pt x="170" y="578"/>
                  <a:pt x="164" y="584"/>
                  <a:pt x="151" y="597"/>
                </a:cubicBezTo>
                <a:cubicBezTo>
                  <a:pt x="151" y="597"/>
                  <a:pt x="151" y="597"/>
                  <a:pt x="145" y="604"/>
                </a:cubicBezTo>
                <a:cubicBezTo>
                  <a:pt x="151" y="597"/>
                  <a:pt x="157" y="591"/>
                  <a:pt x="170" y="584"/>
                </a:cubicBezTo>
                <a:close/>
                <a:moveTo>
                  <a:pt x="214" y="540"/>
                </a:moveTo>
                <a:cubicBezTo>
                  <a:pt x="208" y="540"/>
                  <a:pt x="208" y="540"/>
                  <a:pt x="208" y="540"/>
                </a:cubicBezTo>
                <a:cubicBezTo>
                  <a:pt x="201" y="546"/>
                  <a:pt x="195" y="553"/>
                  <a:pt x="189" y="559"/>
                </a:cubicBezTo>
                <a:cubicBezTo>
                  <a:pt x="195" y="553"/>
                  <a:pt x="201" y="553"/>
                  <a:pt x="214" y="540"/>
                </a:cubicBezTo>
                <a:close/>
                <a:moveTo>
                  <a:pt x="1695" y="699"/>
                </a:moveTo>
                <a:cubicBezTo>
                  <a:pt x="1701" y="692"/>
                  <a:pt x="1701" y="686"/>
                  <a:pt x="1707" y="673"/>
                </a:cubicBezTo>
                <a:cubicBezTo>
                  <a:pt x="1701" y="686"/>
                  <a:pt x="1695" y="699"/>
                  <a:pt x="1689" y="718"/>
                </a:cubicBezTo>
                <a:cubicBezTo>
                  <a:pt x="1689" y="718"/>
                  <a:pt x="1689" y="724"/>
                  <a:pt x="1695" y="699"/>
                </a:cubicBezTo>
                <a:close/>
                <a:moveTo>
                  <a:pt x="1720" y="388"/>
                </a:moveTo>
                <a:cubicBezTo>
                  <a:pt x="1720" y="400"/>
                  <a:pt x="1720" y="400"/>
                  <a:pt x="1720" y="400"/>
                </a:cubicBezTo>
                <a:cubicBezTo>
                  <a:pt x="1720" y="388"/>
                  <a:pt x="1720" y="388"/>
                  <a:pt x="1720" y="388"/>
                </a:cubicBezTo>
                <a:close/>
                <a:moveTo>
                  <a:pt x="1419" y="953"/>
                </a:moveTo>
                <a:cubicBezTo>
                  <a:pt x="1419" y="953"/>
                  <a:pt x="1419" y="953"/>
                  <a:pt x="1419" y="953"/>
                </a:cubicBezTo>
                <a:cubicBezTo>
                  <a:pt x="1419" y="953"/>
                  <a:pt x="1419" y="953"/>
                  <a:pt x="1419" y="953"/>
                </a:cubicBezTo>
                <a:cubicBezTo>
                  <a:pt x="1412" y="953"/>
                  <a:pt x="1406" y="959"/>
                  <a:pt x="1394" y="965"/>
                </a:cubicBezTo>
                <a:cubicBezTo>
                  <a:pt x="1387" y="965"/>
                  <a:pt x="1381" y="972"/>
                  <a:pt x="1369" y="978"/>
                </a:cubicBezTo>
                <a:cubicBezTo>
                  <a:pt x="1387" y="972"/>
                  <a:pt x="1400" y="959"/>
                  <a:pt x="1412" y="953"/>
                </a:cubicBezTo>
                <a:cubicBezTo>
                  <a:pt x="1406" y="959"/>
                  <a:pt x="1406" y="959"/>
                  <a:pt x="1400" y="965"/>
                </a:cubicBezTo>
                <a:cubicBezTo>
                  <a:pt x="1400" y="965"/>
                  <a:pt x="1400" y="959"/>
                  <a:pt x="1406" y="959"/>
                </a:cubicBezTo>
                <a:cubicBezTo>
                  <a:pt x="1419" y="953"/>
                  <a:pt x="1419" y="953"/>
                  <a:pt x="1419" y="953"/>
                </a:cubicBezTo>
                <a:close/>
                <a:moveTo>
                  <a:pt x="1707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9"/>
                  <a:pt x="1714" y="369"/>
                  <a:pt x="1714" y="369"/>
                </a:cubicBezTo>
                <a:cubicBezTo>
                  <a:pt x="1714" y="362"/>
                  <a:pt x="1714" y="362"/>
                  <a:pt x="1714" y="362"/>
                </a:cubicBezTo>
                <a:cubicBezTo>
                  <a:pt x="1707" y="356"/>
                  <a:pt x="1707" y="356"/>
                  <a:pt x="1707" y="356"/>
                </a:cubicBezTo>
                <a:close/>
                <a:moveTo>
                  <a:pt x="1626" y="800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ubicBezTo>
                  <a:pt x="1626" y="800"/>
                  <a:pt x="1626" y="800"/>
                  <a:pt x="1626" y="800"/>
                </a:cubicBezTo>
                <a:close/>
                <a:moveTo>
                  <a:pt x="1607" y="826"/>
                </a:moveTo>
                <a:cubicBezTo>
                  <a:pt x="1601" y="832"/>
                  <a:pt x="1607" y="813"/>
                  <a:pt x="1613" y="813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07" y="826"/>
                </a:cubicBezTo>
                <a:close/>
                <a:moveTo>
                  <a:pt x="1620" y="807"/>
                </a:moveTo>
                <a:cubicBezTo>
                  <a:pt x="1626" y="800"/>
                  <a:pt x="1626" y="800"/>
                  <a:pt x="1626" y="800"/>
                </a:cubicBezTo>
                <a:cubicBezTo>
                  <a:pt x="1620" y="807"/>
                  <a:pt x="1620" y="807"/>
                  <a:pt x="1620" y="807"/>
                </a:cubicBezTo>
                <a:cubicBezTo>
                  <a:pt x="1620" y="807"/>
                  <a:pt x="1620" y="807"/>
                  <a:pt x="1620" y="807"/>
                </a:cubicBezTo>
                <a:close/>
                <a:moveTo>
                  <a:pt x="1638" y="788"/>
                </a:moveTo>
                <a:cubicBezTo>
                  <a:pt x="1638" y="788"/>
                  <a:pt x="1638" y="788"/>
                  <a:pt x="1638" y="781"/>
                </a:cubicBezTo>
                <a:cubicBezTo>
                  <a:pt x="1657" y="762"/>
                  <a:pt x="1645" y="775"/>
                  <a:pt x="1645" y="775"/>
                </a:cubicBezTo>
                <a:cubicBezTo>
                  <a:pt x="1645" y="775"/>
                  <a:pt x="1645" y="775"/>
                  <a:pt x="1651" y="769"/>
                </a:cubicBezTo>
                <a:cubicBezTo>
                  <a:pt x="1670" y="743"/>
                  <a:pt x="1670" y="743"/>
                  <a:pt x="1682" y="737"/>
                </a:cubicBezTo>
                <a:cubicBezTo>
                  <a:pt x="1682" y="737"/>
                  <a:pt x="1682" y="737"/>
                  <a:pt x="1689" y="724"/>
                </a:cubicBezTo>
                <a:cubicBezTo>
                  <a:pt x="1689" y="718"/>
                  <a:pt x="1689" y="718"/>
                  <a:pt x="1689" y="718"/>
                </a:cubicBezTo>
                <a:cubicBezTo>
                  <a:pt x="1689" y="718"/>
                  <a:pt x="1689" y="718"/>
                  <a:pt x="1689" y="724"/>
                </a:cubicBezTo>
                <a:cubicBezTo>
                  <a:pt x="1689" y="724"/>
                  <a:pt x="1689" y="724"/>
                  <a:pt x="1689" y="718"/>
                </a:cubicBezTo>
                <a:cubicBezTo>
                  <a:pt x="1695" y="699"/>
                  <a:pt x="1701" y="686"/>
                  <a:pt x="1707" y="673"/>
                </a:cubicBezTo>
                <a:cubicBezTo>
                  <a:pt x="1707" y="673"/>
                  <a:pt x="1707" y="680"/>
                  <a:pt x="1695" y="699"/>
                </a:cubicBezTo>
                <a:cubicBezTo>
                  <a:pt x="1689" y="724"/>
                  <a:pt x="1664" y="750"/>
                  <a:pt x="1632" y="788"/>
                </a:cubicBezTo>
                <a:cubicBezTo>
                  <a:pt x="1626" y="800"/>
                  <a:pt x="1632" y="794"/>
                  <a:pt x="1632" y="788"/>
                </a:cubicBezTo>
                <a:cubicBezTo>
                  <a:pt x="1632" y="794"/>
                  <a:pt x="1632" y="794"/>
                  <a:pt x="1632" y="794"/>
                </a:cubicBezTo>
                <a:cubicBezTo>
                  <a:pt x="1632" y="794"/>
                  <a:pt x="1626" y="794"/>
                  <a:pt x="1626" y="800"/>
                </a:cubicBezTo>
                <a:cubicBezTo>
                  <a:pt x="1632" y="794"/>
                  <a:pt x="1632" y="788"/>
                  <a:pt x="1638" y="781"/>
                </a:cubicBezTo>
                <a:cubicBezTo>
                  <a:pt x="1638" y="788"/>
                  <a:pt x="1638" y="788"/>
                  <a:pt x="1638" y="788"/>
                </a:cubicBezTo>
                <a:close/>
                <a:moveTo>
                  <a:pt x="1707" y="350"/>
                </a:moveTo>
                <a:cubicBezTo>
                  <a:pt x="1701" y="343"/>
                  <a:pt x="1701" y="343"/>
                  <a:pt x="1701" y="337"/>
                </a:cubicBezTo>
                <a:cubicBezTo>
                  <a:pt x="1701" y="343"/>
                  <a:pt x="1707" y="343"/>
                  <a:pt x="1707" y="350"/>
                </a:cubicBezTo>
                <a:close/>
                <a:moveTo>
                  <a:pt x="1720" y="381"/>
                </a:moveTo>
                <a:cubicBezTo>
                  <a:pt x="1720" y="381"/>
                  <a:pt x="1720" y="381"/>
                  <a:pt x="1714" y="369"/>
                </a:cubicBezTo>
                <a:cubicBezTo>
                  <a:pt x="1714" y="375"/>
                  <a:pt x="1714" y="375"/>
                  <a:pt x="1714" y="375"/>
                </a:cubicBezTo>
                <a:cubicBezTo>
                  <a:pt x="1720" y="381"/>
                  <a:pt x="1720" y="381"/>
                  <a:pt x="1720" y="381"/>
                </a:cubicBezTo>
                <a:close/>
                <a:moveTo>
                  <a:pt x="917" y="242"/>
                </a:moveTo>
                <a:cubicBezTo>
                  <a:pt x="942" y="242"/>
                  <a:pt x="942" y="242"/>
                  <a:pt x="942" y="242"/>
                </a:cubicBezTo>
                <a:cubicBezTo>
                  <a:pt x="948" y="242"/>
                  <a:pt x="948" y="242"/>
                  <a:pt x="948" y="242"/>
                </a:cubicBezTo>
                <a:cubicBezTo>
                  <a:pt x="929" y="242"/>
                  <a:pt x="929" y="242"/>
                  <a:pt x="929" y="242"/>
                </a:cubicBezTo>
                <a:cubicBezTo>
                  <a:pt x="917" y="242"/>
                  <a:pt x="917" y="242"/>
                  <a:pt x="917" y="242"/>
                </a:cubicBezTo>
                <a:close/>
                <a:moveTo>
                  <a:pt x="1733" y="451"/>
                </a:moveTo>
                <a:cubicBezTo>
                  <a:pt x="1733" y="458"/>
                  <a:pt x="1733" y="451"/>
                  <a:pt x="1733" y="464"/>
                </a:cubicBezTo>
                <a:cubicBezTo>
                  <a:pt x="1733" y="451"/>
                  <a:pt x="1733" y="451"/>
                  <a:pt x="1733" y="451"/>
                </a:cubicBezTo>
                <a:close/>
                <a:moveTo>
                  <a:pt x="314" y="458"/>
                </a:moveTo>
                <a:cubicBezTo>
                  <a:pt x="314" y="458"/>
                  <a:pt x="314" y="458"/>
                  <a:pt x="302" y="464"/>
                </a:cubicBezTo>
                <a:cubicBezTo>
                  <a:pt x="302" y="464"/>
                  <a:pt x="302" y="464"/>
                  <a:pt x="327" y="451"/>
                </a:cubicBezTo>
                <a:cubicBezTo>
                  <a:pt x="346" y="445"/>
                  <a:pt x="333" y="451"/>
                  <a:pt x="333" y="445"/>
                </a:cubicBezTo>
                <a:cubicBezTo>
                  <a:pt x="333" y="445"/>
                  <a:pt x="333" y="445"/>
                  <a:pt x="327" y="451"/>
                </a:cubicBezTo>
                <a:cubicBezTo>
                  <a:pt x="358" y="432"/>
                  <a:pt x="358" y="432"/>
                  <a:pt x="358" y="432"/>
                </a:cubicBezTo>
                <a:cubicBezTo>
                  <a:pt x="346" y="445"/>
                  <a:pt x="346" y="445"/>
                  <a:pt x="346" y="445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1"/>
                  <a:pt x="321" y="451"/>
                  <a:pt x="321" y="451"/>
                </a:cubicBezTo>
                <a:cubicBezTo>
                  <a:pt x="321" y="458"/>
                  <a:pt x="321" y="458"/>
                  <a:pt x="314" y="458"/>
                </a:cubicBezTo>
                <a:close/>
                <a:moveTo>
                  <a:pt x="1733" y="477"/>
                </a:moveTo>
                <a:cubicBezTo>
                  <a:pt x="1733" y="477"/>
                  <a:pt x="1733" y="477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3" y="477"/>
                </a:cubicBezTo>
                <a:close/>
                <a:moveTo>
                  <a:pt x="754" y="273"/>
                </a:moveTo>
                <a:cubicBezTo>
                  <a:pt x="747" y="273"/>
                  <a:pt x="747" y="273"/>
                  <a:pt x="747" y="273"/>
                </a:cubicBezTo>
                <a:cubicBezTo>
                  <a:pt x="754" y="273"/>
                  <a:pt x="754" y="273"/>
                  <a:pt x="754" y="273"/>
                </a:cubicBezTo>
                <a:close/>
                <a:moveTo>
                  <a:pt x="1670" y="292"/>
                </a:moveTo>
                <a:cubicBezTo>
                  <a:pt x="1670" y="292"/>
                  <a:pt x="1670" y="292"/>
                  <a:pt x="1682" y="299"/>
                </a:cubicBezTo>
                <a:cubicBezTo>
                  <a:pt x="1670" y="292"/>
                  <a:pt x="1682" y="299"/>
                  <a:pt x="1670" y="292"/>
                </a:cubicBezTo>
                <a:close/>
                <a:moveTo>
                  <a:pt x="446" y="381"/>
                </a:moveTo>
                <a:cubicBezTo>
                  <a:pt x="446" y="381"/>
                  <a:pt x="446" y="381"/>
                  <a:pt x="465" y="375"/>
                </a:cubicBezTo>
                <a:cubicBezTo>
                  <a:pt x="459" y="375"/>
                  <a:pt x="465" y="375"/>
                  <a:pt x="446" y="381"/>
                </a:cubicBezTo>
                <a:close/>
                <a:moveTo>
                  <a:pt x="1080" y="229"/>
                </a:moveTo>
                <a:cubicBezTo>
                  <a:pt x="1048" y="229"/>
                  <a:pt x="1067" y="229"/>
                  <a:pt x="1042" y="229"/>
                </a:cubicBezTo>
                <a:cubicBezTo>
                  <a:pt x="1036" y="229"/>
                  <a:pt x="1036" y="229"/>
                  <a:pt x="1036" y="229"/>
                </a:cubicBezTo>
                <a:cubicBezTo>
                  <a:pt x="1055" y="229"/>
                  <a:pt x="1074" y="229"/>
                  <a:pt x="1092" y="229"/>
                </a:cubicBezTo>
                <a:cubicBezTo>
                  <a:pt x="1080" y="229"/>
                  <a:pt x="1080" y="229"/>
                  <a:pt x="1080" y="229"/>
                </a:cubicBezTo>
                <a:close/>
                <a:moveTo>
                  <a:pt x="1011" y="235"/>
                </a:moveTo>
                <a:cubicBezTo>
                  <a:pt x="1023" y="235"/>
                  <a:pt x="1023" y="235"/>
                  <a:pt x="1036" y="229"/>
                </a:cubicBezTo>
                <a:cubicBezTo>
                  <a:pt x="1030" y="229"/>
                  <a:pt x="1017" y="229"/>
                  <a:pt x="1011" y="235"/>
                </a:cubicBezTo>
                <a:close/>
                <a:moveTo>
                  <a:pt x="164" y="584"/>
                </a:moveTo>
                <a:cubicBezTo>
                  <a:pt x="145" y="604"/>
                  <a:pt x="145" y="604"/>
                  <a:pt x="132" y="623"/>
                </a:cubicBezTo>
                <a:cubicBezTo>
                  <a:pt x="145" y="604"/>
                  <a:pt x="151" y="597"/>
                  <a:pt x="164" y="584"/>
                </a:cubicBezTo>
                <a:close/>
                <a:moveTo>
                  <a:pt x="804" y="261"/>
                </a:moveTo>
                <a:cubicBezTo>
                  <a:pt x="810" y="261"/>
                  <a:pt x="816" y="261"/>
                  <a:pt x="823" y="254"/>
                </a:cubicBezTo>
                <a:cubicBezTo>
                  <a:pt x="823" y="261"/>
                  <a:pt x="816" y="261"/>
                  <a:pt x="810" y="261"/>
                </a:cubicBezTo>
                <a:cubicBezTo>
                  <a:pt x="810" y="261"/>
                  <a:pt x="810" y="261"/>
                  <a:pt x="804" y="261"/>
                </a:cubicBezTo>
                <a:close/>
                <a:moveTo>
                  <a:pt x="1739" y="502"/>
                </a:moveTo>
                <a:cubicBezTo>
                  <a:pt x="1739" y="502"/>
                  <a:pt x="1739" y="502"/>
                  <a:pt x="1739" y="508"/>
                </a:cubicBezTo>
                <a:cubicBezTo>
                  <a:pt x="1739" y="508"/>
                  <a:pt x="1739" y="508"/>
                  <a:pt x="1739" y="508"/>
                </a:cubicBezTo>
                <a:cubicBezTo>
                  <a:pt x="1739" y="508"/>
                  <a:pt x="1739" y="508"/>
                  <a:pt x="1739" y="515"/>
                </a:cubicBezTo>
                <a:cubicBezTo>
                  <a:pt x="1733" y="515"/>
                  <a:pt x="1733" y="508"/>
                  <a:pt x="1733" y="502"/>
                </a:cubicBezTo>
                <a:cubicBezTo>
                  <a:pt x="1733" y="508"/>
                  <a:pt x="1733" y="515"/>
                  <a:pt x="1733" y="534"/>
                </a:cubicBezTo>
                <a:cubicBezTo>
                  <a:pt x="1733" y="527"/>
                  <a:pt x="1733" y="527"/>
                  <a:pt x="1733" y="515"/>
                </a:cubicBezTo>
                <a:cubicBezTo>
                  <a:pt x="1733" y="515"/>
                  <a:pt x="1733" y="515"/>
                  <a:pt x="1733" y="502"/>
                </a:cubicBezTo>
                <a:cubicBezTo>
                  <a:pt x="1733" y="515"/>
                  <a:pt x="1733" y="534"/>
                  <a:pt x="1733" y="553"/>
                </a:cubicBezTo>
                <a:cubicBezTo>
                  <a:pt x="1726" y="584"/>
                  <a:pt x="1726" y="584"/>
                  <a:pt x="1726" y="584"/>
                </a:cubicBezTo>
                <a:cubicBezTo>
                  <a:pt x="1726" y="584"/>
                  <a:pt x="1726" y="584"/>
                  <a:pt x="1726" y="591"/>
                </a:cubicBezTo>
                <a:cubicBezTo>
                  <a:pt x="1733" y="578"/>
                  <a:pt x="1733" y="565"/>
                  <a:pt x="1733" y="559"/>
                </a:cubicBezTo>
                <a:cubicBezTo>
                  <a:pt x="1733" y="559"/>
                  <a:pt x="1733" y="559"/>
                  <a:pt x="1733" y="578"/>
                </a:cubicBezTo>
                <a:cubicBezTo>
                  <a:pt x="1733" y="559"/>
                  <a:pt x="1733" y="546"/>
                  <a:pt x="1733" y="534"/>
                </a:cubicBezTo>
                <a:cubicBezTo>
                  <a:pt x="1733" y="527"/>
                  <a:pt x="1733" y="527"/>
                  <a:pt x="1739" y="515"/>
                </a:cubicBezTo>
                <a:cubicBezTo>
                  <a:pt x="1733" y="527"/>
                  <a:pt x="1733" y="540"/>
                  <a:pt x="1733" y="553"/>
                </a:cubicBezTo>
                <a:cubicBezTo>
                  <a:pt x="1739" y="534"/>
                  <a:pt x="1739" y="534"/>
                  <a:pt x="1739" y="534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27"/>
                  <a:pt x="1739" y="527"/>
                  <a:pt x="1739" y="527"/>
                </a:cubicBezTo>
                <a:cubicBezTo>
                  <a:pt x="1739" y="515"/>
                  <a:pt x="1739" y="508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02"/>
                  <a:pt x="1739" y="502"/>
                  <a:pt x="1739" y="502"/>
                </a:cubicBezTo>
                <a:close/>
                <a:moveTo>
                  <a:pt x="590" y="324"/>
                </a:moveTo>
                <a:cubicBezTo>
                  <a:pt x="597" y="318"/>
                  <a:pt x="603" y="318"/>
                  <a:pt x="609" y="318"/>
                </a:cubicBezTo>
                <a:cubicBezTo>
                  <a:pt x="603" y="318"/>
                  <a:pt x="597" y="318"/>
                  <a:pt x="597" y="318"/>
                </a:cubicBezTo>
                <a:cubicBezTo>
                  <a:pt x="597" y="324"/>
                  <a:pt x="590" y="324"/>
                  <a:pt x="590" y="324"/>
                </a:cubicBezTo>
                <a:close/>
                <a:moveTo>
                  <a:pt x="910" y="242"/>
                </a:moveTo>
                <a:cubicBezTo>
                  <a:pt x="904" y="242"/>
                  <a:pt x="904" y="242"/>
                  <a:pt x="904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10" y="242"/>
                  <a:pt x="910" y="242"/>
                </a:cubicBezTo>
                <a:close/>
                <a:moveTo>
                  <a:pt x="722" y="280"/>
                </a:moveTo>
                <a:cubicBezTo>
                  <a:pt x="754" y="267"/>
                  <a:pt x="747" y="273"/>
                  <a:pt x="747" y="273"/>
                </a:cubicBezTo>
                <a:cubicBezTo>
                  <a:pt x="760" y="267"/>
                  <a:pt x="766" y="267"/>
                  <a:pt x="779" y="267"/>
                </a:cubicBezTo>
                <a:cubicBezTo>
                  <a:pt x="797" y="261"/>
                  <a:pt x="797" y="261"/>
                  <a:pt x="797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816" y="261"/>
                  <a:pt x="841" y="254"/>
                  <a:pt x="860" y="248"/>
                </a:cubicBezTo>
                <a:cubicBezTo>
                  <a:pt x="867" y="248"/>
                  <a:pt x="867" y="248"/>
                  <a:pt x="867" y="248"/>
                </a:cubicBezTo>
                <a:cubicBezTo>
                  <a:pt x="848" y="248"/>
                  <a:pt x="841" y="254"/>
                  <a:pt x="823" y="254"/>
                </a:cubicBezTo>
                <a:cubicBezTo>
                  <a:pt x="854" y="248"/>
                  <a:pt x="860" y="248"/>
                  <a:pt x="904" y="242"/>
                </a:cubicBezTo>
                <a:cubicBezTo>
                  <a:pt x="885" y="248"/>
                  <a:pt x="885" y="248"/>
                  <a:pt x="885" y="248"/>
                </a:cubicBezTo>
                <a:cubicBezTo>
                  <a:pt x="879" y="248"/>
                  <a:pt x="879" y="248"/>
                  <a:pt x="873" y="248"/>
                </a:cubicBezTo>
                <a:cubicBezTo>
                  <a:pt x="885" y="242"/>
                  <a:pt x="885" y="242"/>
                  <a:pt x="904" y="242"/>
                </a:cubicBezTo>
                <a:cubicBezTo>
                  <a:pt x="923" y="242"/>
                  <a:pt x="923" y="242"/>
                  <a:pt x="936" y="242"/>
                </a:cubicBezTo>
                <a:cubicBezTo>
                  <a:pt x="929" y="242"/>
                  <a:pt x="929" y="242"/>
                  <a:pt x="942" y="242"/>
                </a:cubicBezTo>
                <a:cubicBezTo>
                  <a:pt x="942" y="242"/>
                  <a:pt x="942" y="242"/>
                  <a:pt x="986" y="235"/>
                </a:cubicBezTo>
                <a:cubicBezTo>
                  <a:pt x="973" y="235"/>
                  <a:pt x="961" y="235"/>
                  <a:pt x="967" y="235"/>
                </a:cubicBezTo>
                <a:cubicBezTo>
                  <a:pt x="992" y="235"/>
                  <a:pt x="998" y="235"/>
                  <a:pt x="1011" y="235"/>
                </a:cubicBezTo>
                <a:cubicBezTo>
                  <a:pt x="1011" y="235"/>
                  <a:pt x="1011" y="235"/>
                  <a:pt x="986" y="235"/>
                </a:cubicBezTo>
                <a:cubicBezTo>
                  <a:pt x="1042" y="229"/>
                  <a:pt x="1080" y="229"/>
                  <a:pt x="1143" y="229"/>
                </a:cubicBezTo>
                <a:cubicBezTo>
                  <a:pt x="1130" y="229"/>
                  <a:pt x="1136" y="229"/>
                  <a:pt x="1099" y="229"/>
                </a:cubicBezTo>
                <a:cubicBezTo>
                  <a:pt x="1118" y="229"/>
                  <a:pt x="1143" y="229"/>
                  <a:pt x="1161" y="229"/>
                </a:cubicBezTo>
                <a:cubicBezTo>
                  <a:pt x="1161" y="229"/>
                  <a:pt x="1161" y="229"/>
                  <a:pt x="1161" y="229"/>
                </a:cubicBezTo>
                <a:cubicBezTo>
                  <a:pt x="1168" y="229"/>
                  <a:pt x="1168" y="229"/>
                  <a:pt x="1168" y="229"/>
                </a:cubicBezTo>
                <a:cubicBezTo>
                  <a:pt x="1143" y="229"/>
                  <a:pt x="1149" y="229"/>
                  <a:pt x="1130" y="229"/>
                </a:cubicBezTo>
                <a:cubicBezTo>
                  <a:pt x="1092" y="229"/>
                  <a:pt x="1074" y="229"/>
                  <a:pt x="1042" y="229"/>
                </a:cubicBezTo>
                <a:cubicBezTo>
                  <a:pt x="998" y="235"/>
                  <a:pt x="1036" y="229"/>
                  <a:pt x="1011" y="229"/>
                </a:cubicBezTo>
                <a:cubicBezTo>
                  <a:pt x="1017" y="229"/>
                  <a:pt x="1011" y="235"/>
                  <a:pt x="979" y="235"/>
                </a:cubicBezTo>
                <a:cubicBezTo>
                  <a:pt x="979" y="235"/>
                  <a:pt x="973" y="235"/>
                  <a:pt x="967" y="235"/>
                </a:cubicBezTo>
                <a:cubicBezTo>
                  <a:pt x="973" y="235"/>
                  <a:pt x="979" y="235"/>
                  <a:pt x="992" y="235"/>
                </a:cubicBezTo>
                <a:cubicBezTo>
                  <a:pt x="992" y="235"/>
                  <a:pt x="992" y="235"/>
                  <a:pt x="1011" y="229"/>
                </a:cubicBezTo>
                <a:cubicBezTo>
                  <a:pt x="986" y="235"/>
                  <a:pt x="998" y="235"/>
                  <a:pt x="986" y="235"/>
                </a:cubicBezTo>
                <a:cubicBezTo>
                  <a:pt x="923" y="235"/>
                  <a:pt x="854" y="248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91" y="261"/>
                  <a:pt x="791" y="261"/>
                  <a:pt x="791" y="261"/>
                </a:cubicBezTo>
                <a:cubicBezTo>
                  <a:pt x="747" y="273"/>
                  <a:pt x="710" y="280"/>
                  <a:pt x="685" y="286"/>
                </a:cubicBezTo>
                <a:cubicBezTo>
                  <a:pt x="685" y="286"/>
                  <a:pt x="685" y="286"/>
                  <a:pt x="666" y="292"/>
                </a:cubicBezTo>
                <a:cubicBezTo>
                  <a:pt x="653" y="292"/>
                  <a:pt x="634" y="299"/>
                  <a:pt x="609" y="318"/>
                </a:cubicBezTo>
                <a:cubicBezTo>
                  <a:pt x="641" y="299"/>
                  <a:pt x="697" y="286"/>
                  <a:pt x="722" y="280"/>
                </a:cubicBezTo>
                <a:close/>
                <a:moveTo>
                  <a:pt x="691" y="286"/>
                </a:moveTo>
                <a:cubicBezTo>
                  <a:pt x="703" y="280"/>
                  <a:pt x="703" y="280"/>
                  <a:pt x="703" y="280"/>
                </a:cubicBezTo>
                <a:cubicBezTo>
                  <a:pt x="691" y="286"/>
                  <a:pt x="703" y="280"/>
                  <a:pt x="691" y="286"/>
                </a:cubicBezTo>
                <a:close/>
                <a:moveTo>
                  <a:pt x="1431" y="946"/>
                </a:moveTo>
                <a:cubicBezTo>
                  <a:pt x="1431" y="953"/>
                  <a:pt x="1431" y="946"/>
                  <a:pt x="1425" y="953"/>
                </a:cubicBezTo>
                <a:cubicBezTo>
                  <a:pt x="1431" y="953"/>
                  <a:pt x="1431" y="953"/>
                  <a:pt x="1431" y="946"/>
                </a:cubicBezTo>
                <a:close/>
                <a:moveTo>
                  <a:pt x="1651" y="261"/>
                </a:moveTo>
                <a:cubicBezTo>
                  <a:pt x="1664" y="267"/>
                  <a:pt x="1670" y="280"/>
                  <a:pt x="1682" y="292"/>
                </a:cubicBezTo>
                <a:cubicBezTo>
                  <a:pt x="1689" y="299"/>
                  <a:pt x="1689" y="305"/>
                  <a:pt x="1695" y="318"/>
                </a:cubicBezTo>
                <a:cubicBezTo>
                  <a:pt x="1682" y="286"/>
                  <a:pt x="1664" y="273"/>
                  <a:pt x="1664" y="267"/>
                </a:cubicBezTo>
                <a:cubicBezTo>
                  <a:pt x="1664" y="267"/>
                  <a:pt x="1664" y="267"/>
                  <a:pt x="1657" y="267"/>
                </a:cubicBezTo>
                <a:cubicBezTo>
                  <a:pt x="1657" y="267"/>
                  <a:pt x="1657" y="267"/>
                  <a:pt x="1651" y="261"/>
                </a:cubicBezTo>
                <a:close/>
                <a:moveTo>
                  <a:pt x="1720" y="388"/>
                </a:moveTo>
                <a:cubicBezTo>
                  <a:pt x="1720" y="381"/>
                  <a:pt x="1720" y="381"/>
                  <a:pt x="1720" y="381"/>
                </a:cubicBezTo>
                <a:cubicBezTo>
                  <a:pt x="1720" y="375"/>
                  <a:pt x="1720" y="375"/>
                  <a:pt x="1720" y="388"/>
                </a:cubicBezTo>
                <a:close/>
                <a:moveTo>
                  <a:pt x="1726" y="400"/>
                </a:moveTo>
                <a:cubicBezTo>
                  <a:pt x="1726" y="394"/>
                  <a:pt x="1726" y="388"/>
                  <a:pt x="1720" y="388"/>
                </a:cubicBezTo>
                <a:cubicBezTo>
                  <a:pt x="1720" y="388"/>
                  <a:pt x="1720" y="388"/>
                  <a:pt x="1720" y="388"/>
                </a:cubicBezTo>
                <a:cubicBezTo>
                  <a:pt x="1726" y="400"/>
                  <a:pt x="1726" y="419"/>
                  <a:pt x="1726" y="400"/>
                </a:cubicBezTo>
                <a:close/>
                <a:moveTo>
                  <a:pt x="302" y="464"/>
                </a:move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302" y="464"/>
                </a:cubicBezTo>
                <a:close/>
                <a:moveTo>
                  <a:pt x="277" y="483"/>
                </a:moveTo>
                <a:cubicBezTo>
                  <a:pt x="277" y="483"/>
                  <a:pt x="277" y="483"/>
                  <a:pt x="295" y="470"/>
                </a:cubicBezTo>
                <a:cubicBezTo>
                  <a:pt x="302" y="464"/>
                  <a:pt x="302" y="464"/>
                  <a:pt x="302" y="464"/>
                </a:cubicBezTo>
                <a:cubicBezTo>
                  <a:pt x="302" y="464"/>
                  <a:pt x="302" y="464"/>
                  <a:pt x="283" y="477"/>
                </a:cubicBezTo>
                <a:cubicBezTo>
                  <a:pt x="283" y="477"/>
                  <a:pt x="283" y="477"/>
                  <a:pt x="277" y="483"/>
                </a:cubicBezTo>
                <a:close/>
                <a:moveTo>
                  <a:pt x="1695" y="318"/>
                </a:moveTo>
                <a:cubicBezTo>
                  <a:pt x="1695" y="318"/>
                  <a:pt x="1695" y="318"/>
                  <a:pt x="1701" y="331"/>
                </a:cubicBezTo>
                <a:cubicBezTo>
                  <a:pt x="1695" y="318"/>
                  <a:pt x="1701" y="324"/>
                  <a:pt x="1695" y="318"/>
                </a:cubicBezTo>
                <a:close/>
                <a:moveTo>
                  <a:pt x="816" y="26"/>
                </a:moveTo>
                <a:cubicBezTo>
                  <a:pt x="810" y="26"/>
                  <a:pt x="810" y="26"/>
                  <a:pt x="810" y="26"/>
                </a:cubicBezTo>
                <a:cubicBezTo>
                  <a:pt x="816" y="26"/>
                  <a:pt x="816" y="26"/>
                  <a:pt x="823" y="26"/>
                </a:cubicBezTo>
                <a:cubicBezTo>
                  <a:pt x="816" y="26"/>
                  <a:pt x="816" y="26"/>
                  <a:pt x="816" y="26"/>
                </a:cubicBezTo>
                <a:close/>
                <a:moveTo>
                  <a:pt x="1218" y="20"/>
                </a:move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ubicBezTo>
                  <a:pt x="1218" y="20"/>
                  <a:pt x="1218" y="20"/>
                  <a:pt x="1218" y="20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24" y="20"/>
                  <a:pt x="1249" y="26"/>
                </a:cubicBezTo>
                <a:cubicBezTo>
                  <a:pt x="1256" y="26"/>
                  <a:pt x="1262" y="26"/>
                  <a:pt x="1268" y="26"/>
                </a:cubicBezTo>
                <a:cubicBezTo>
                  <a:pt x="1249" y="20"/>
                  <a:pt x="1249" y="26"/>
                  <a:pt x="1243" y="20"/>
                </a:cubicBezTo>
                <a:cubicBezTo>
                  <a:pt x="1199" y="7"/>
                  <a:pt x="1199" y="20"/>
                  <a:pt x="1199" y="20"/>
                </a:cubicBezTo>
                <a:cubicBezTo>
                  <a:pt x="1161" y="7"/>
                  <a:pt x="1193" y="20"/>
                  <a:pt x="1161" y="7"/>
                </a:cubicBezTo>
                <a:cubicBezTo>
                  <a:pt x="1161" y="7"/>
                  <a:pt x="1161" y="7"/>
                  <a:pt x="1130" y="7"/>
                </a:cubicBezTo>
                <a:cubicBezTo>
                  <a:pt x="1105" y="0"/>
                  <a:pt x="1105" y="0"/>
                  <a:pt x="1118" y="0"/>
                </a:cubicBezTo>
                <a:cubicBezTo>
                  <a:pt x="1111" y="0"/>
                  <a:pt x="1105" y="0"/>
                  <a:pt x="1099" y="0"/>
                </a:cubicBezTo>
                <a:cubicBezTo>
                  <a:pt x="1099" y="0"/>
                  <a:pt x="1099" y="0"/>
                  <a:pt x="1118" y="7"/>
                </a:cubicBezTo>
                <a:cubicBezTo>
                  <a:pt x="1086" y="0"/>
                  <a:pt x="1074" y="0"/>
                  <a:pt x="1080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1061" y="0"/>
                  <a:pt x="1061" y="0"/>
                  <a:pt x="1048" y="0"/>
                </a:cubicBezTo>
                <a:cubicBezTo>
                  <a:pt x="1023" y="0"/>
                  <a:pt x="1030" y="0"/>
                  <a:pt x="992" y="0"/>
                </a:cubicBezTo>
                <a:cubicBezTo>
                  <a:pt x="992" y="0"/>
                  <a:pt x="992" y="0"/>
                  <a:pt x="998" y="0"/>
                </a:cubicBezTo>
                <a:cubicBezTo>
                  <a:pt x="1055" y="0"/>
                  <a:pt x="1149" y="7"/>
                  <a:pt x="1193" y="20"/>
                </a:cubicBezTo>
                <a:cubicBezTo>
                  <a:pt x="1199" y="20"/>
                  <a:pt x="1205" y="20"/>
                  <a:pt x="1218" y="20"/>
                </a:cubicBezTo>
                <a:cubicBezTo>
                  <a:pt x="1205" y="20"/>
                  <a:pt x="1199" y="20"/>
                  <a:pt x="1193" y="20"/>
                </a:cubicBezTo>
                <a:cubicBezTo>
                  <a:pt x="1199" y="20"/>
                  <a:pt x="1205" y="20"/>
                  <a:pt x="1212" y="20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19" y="102"/>
                  <a:pt x="1513" y="96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1155" y="32"/>
                </a:move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1" y="32"/>
                  <a:pt x="1161" y="32"/>
                  <a:pt x="1168" y="32"/>
                </a:cubicBezTo>
                <a:cubicBezTo>
                  <a:pt x="1161" y="32"/>
                  <a:pt x="1161" y="32"/>
                  <a:pt x="1155" y="32"/>
                </a:cubicBezTo>
                <a:close/>
                <a:moveTo>
                  <a:pt x="873" y="26"/>
                </a:moveTo>
                <a:cubicBezTo>
                  <a:pt x="867" y="26"/>
                  <a:pt x="867" y="26"/>
                  <a:pt x="860" y="26"/>
                </a:cubicBezTo>
                <a:cubicBezTo>
                  <a:pt x="867" y="26"/>
                  <a:pt x="873" y="26"/>
                  <a:pt x="879" y="26"/>
                </a:cubicBezTo>
                <a:cubicBezTo>
                  <a:pt x="879" y="26"/>
                  <a:pt x="879" y="26"/>
                  <a:pt x="879" y="26"/>
                </a:cubicBezTo>
                <a:cubicBezTo>
                  <a:pt x="873" y="26"/>
                  <a:pt x="873" y="26"/>
                  <a:pt x="873" y="26"/>
                </a:cubicBezTo>
                <a:close/>
                <a:moveTo>
                  <a:pt x="647" y="58"/>
                </a:moveTo>
                <a:cubicBezTo>
                  <a:pt x="647" y="58"/>
                  <a:pt x="647" y="58"/>
                  <a:pt x="653" y="58"/>
                </a:cubicBezTo>
                <a:cubicBezTo>
                  <a:pt x="710" y="45"/>
                  <a:pt x="697" y="51"/>
                  <a:pt x="728" y="45"/>
                </a:cubicBezTo>
                <a:cubicBezTo>
                  <a:pt x="754" y="39"/>
                  <a:pt x="741" y="39"/>
                  <a:pt x="754" y="39"/>
                </a:cubicBezTo>
                <a:cubicBezTo>
                  <a:pt x="754" y="39"/>
                  <a:pt x="754" y="39"/>
                  <a:pt x="766" y="32"/>
                </a:cubicBezTo>
                <a:cubicBezTo>
                  <a:pt x="754" y="39"/>
                  <a:pt x="760" y="39"/>
                  <a:pt x="741" y="39"/>
                </a:cubicBezTo>
                <a:cubicBezTo>
                  <a:pt x="747" y="39"/>
                  <a:pt x="754" y="39"/>
                  <a:pt x="760" y="32"/>
                </a:cubicBezTo>
                <a:cubicBezTo>
                  <a:pt x="710" y="45"/>
                  <a:pt x="691" y="51"/>
                  <a:pt x="659" y="51"/>
                </a:cubicBezTo>
                <a:cubicBezTo>
                  <a:pt x="659" y="51"/>
                  <a:pt x="659" y="51"/>
                  <a:pt x="647" y="58"/>
                </a:cubicBezTo>
                <a:close/>
                <a:moveTo>
                  <a:pt x="1576" y="864"/>
                </a:move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76" y="864"/>
                </a:cubicBezTo>
                <a:close/>
                <a:moveTo>
                  <a:pt x="772" y="32"/>
                </a:moveTo>
                <a:cubicBezTo>
                  <a:pt x="772" y="32"/>
                  <a:pt x="772" y="32"/>
                  <a:pt x="772" y="32"/>
                </a:cubicBezTo>
                <a:cubicBezTo>
                  <a:pt x="772" y="32"/>
                  <a:pt x="766" y="32"/>
                  <a:pt x="760" y="32"/>
                </a:cubicBezTo>
                <a:cubicBezTo>
                  <a:pt x="760" y="32"/>
                  <a:pt x="766" y="32"/>
                  <a:pt x="772" y="32"/>
                </a:cubicBezTo>
                <a:close/>
                <a:moveTo>
                  <a:pt x="628" y="64"/>
                </a:moveTo>
                <a:cubicBezTo>
                  <a:pt x="622" y="70"/>
                  <a:pt x="622" y="70"/>
                  <a:pt x="622" y="70"/>
                </a:cubicBezTo>
                <a:cubicBezTo>
                  <a:pt x="634" y="64"/>
                  <a:pt x="634" y="64"/>
                  <a:pt x="641" y="64"/>
                </a:cubicBezTo>
                <a:cubicBezTo>
                  <a:pt x="641" y="64"/>
                  <a:pt x="641" y="64"/>
                  <a:pt x="634" y="64"/>
                </a:cubicBezTo>
                <a:cubicBezTo>
                  <a:pt x="647" y="64"/>
                  <a:pt x="647" y="58"/>
                  <a:pt x="653" y="58"/>
                </a:cubicBezTo>
                <a:cubicBezTo>
                  <a:pt x="647" y="64"/>
                  <a:pt x="641" y="64"/>
                  <a:pt x="641" y="64"/>
                </a:cubicBezTo>
                <a:cubicBezTo>
                  <a:pt x="641" y="64"/>
                  <a:pt x="647" y="64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53" y="58"/>
                  <a:pt x="653" y="58"/>
                  <a:pt x="653" y="58"/>
                </a:cubicBezTo>
                <a:cubicBezTo>
                  <a:pt x="641" y="64"/>
                  <a:pt x="641" y="64"/>
                  <a:pt x="641" y="64"/>
                </a:cubicBezTo>
                <a:cubicBezTo>
                  <a:pt x="628" y="64"/>
                  <a:pt x="628" y="64"/>
                  <a:pt x="628" y="64"/>
                </a:cubicBezTo>
                <a:close/>
                <a:moveTo>
                  <a:pt x="1707" y="686"/>
                </a:moveTo>
                <a:cubicBezTo>
                  <a:pt x="1701" y="699"/>
                  <a:pt x="1707" y="692"/>
                  <a:pt x="1701" y="705"/>
                </a:cubicBezTo>
                <a:cubicBezTo>
                  <a:pt x="1701" y="699"/>
                  <a:pt x="1707" y="692"/>
                  <a:pt x="1707" y="686"/>
                </a:cubicBezTo>
                <a:close/>
                <a:moveTo>
                  <a:pt x="1739" y="559"/>
                </a:moveTo>
                <a:cubicBezTo>
                  <a:pt x="1739" y="565"/>
                  <a:pt x="1739" y="565"/>
                  <a:pt x="1739" y="565"/>
                </a:cubicBezTo>
                <a:cubicBezTo>
                  <a:pt x="1739" y="565"/>
                  <a:pt x="1739" y="565"/>
                  <a:pt x="1739" y="559"/>
                </a:cubicBezTo>
                <a:close/>
                <a:moveTo>
                  <a:pt x="1739" y="559"/>
                </a:moveTo>
                <a:cubicBezTo>
                  <a:pt x="1739" y="553"/>
                  <a:pt x="1739" y="546"/>
                  <a:pt x="1739" y="540"/>
                </a:cubicBezTo>
                <a:cubicBezTo>
                  <a:pt x="1739" y="534"/>
                  <a:pt x="1739" y="534"/>
                  <a:pt x="1739" y="527"/>
                </a:cubicBezTo>
                <a:cubicBezTo>
                  <a:pt x="1739" y="553"/>
                  <a:pt x="1739" y="559"/>
                  <a:pt x="1739" y="559"/>
                </a:cubicBezTo>
                <a:close/>
                <a:moveTo>
                  <a:pt x="697" y="51"/>
                </a:move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91" y="51"/>
                  <a:pt x="697" y="51"/>
                </a:cubicBezTo>
                <a:cubicBezTo>
                  <a:pt x="697" y="51"/>
                  <a:pt x="697" y="51"/>
                  <a:pt x="691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710" y="51"/>
                  <a:pt x="716" y="51"/>
                  <a:pt x="728" y="45"/>
                </a:cubicBezTo>
                <a:cubicBezTo>
                  <a:pt x="716" y="51"/>
                  <a:pt x="710" y="51"/>
                  <a:pt x="697" y="51"/>
                </a:cubicBezTo>
                <a:cubicBezTo>
                  <a:pt x="697" y="51"/>
                  <a:pt x="697" y="51"/>
                  <a:pt x="697" y="51"/>
                </a:cubicBezTo>
                <a:close/>
                <a:moveTo>
                  <a:pt x="1281" y="32"/>
                </a:moveTo>
                <a:cubicBezTo>
                  <a:pt x="1274" y="26"/>
                  <a:pt x="1274" y="26"/>
                  <a:pt x="1274" y="26"/>
                </a:cubicBezTo>
                <a:cubicBezTo>
                  <a:pt x="1281" y="32"/>
                  <a:pt x="1281" y="32"/>
                  <a:pt x="1281" y="32"/>
                </a:cubicBezTo>
                <a:close/>
                <a:moveTo>
                  <a:pt x="1525" y="115"/>
                </a:moveTo>
                <a:cubicBezTo>
                  <a:pt x="1519" y="102"/>
                  <a:pt x="1519" y="102"/>
                  <a:pt x="1519" y="102"/>
                </a:cubicBezTo>
                <a:cubicBezTo>
                  <a:pt x="1519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281" y="32"/>
                </a:moveTo>
                <a:cubicBezTo>
                  <a:pt x="1281" y="26"/>
                  <a:pt x="1281" y="26"/>
                  <a:pt x="1281" y="26"/>
                </a:cubicBezTo>
                <a:cubicBezTo>
                  <a:pt x="1274" y="26"/>
                  <a:pt x="1274" y="26"/>
                  <a:pt x="1268" y="26"/>
                </a:cubicBezTo>
                <a:cubicBezTo>
                  <a:pt x="1268" y="26"/>
                  <a:pt x="1268" y="26"/>
                  <a:pt x="1274" y="26"/>
                </a:cubicBezTo>
                <a:cubicBezTo>
                  <a:pt x="1274" y="26"/>
                  <a:pt x="1274" y="26"/>
                  <a:pt x="1281" y="32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lose/>
                <a:moveTo>
                  <a:pt x="1726" y="292"/>
                </a:move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lose/>
                <a:moveTo>
                  <a:pt x="1212" y="20"/>
                </a:moveTo>
                <a:cubicBezTo>
                  <a:pt x="1212" y="20"/>
                  <a:pt x="1212" y="20"/>
                  <a:pt x="1212" y="20"/>
                </a:cubicBezTo>
                <a:cubicBezTo>
                  <a:pt x="1218" y="20"/>
                  <a:pt x="1218" y="20"/>
                  <a:pt x="1212" y="20"/>
                </a:cubicBezTo>
                <a:close/>
                <a:moveTo>
                  <a:pt x="961" y="0"/>
                </a:moveTo>
                <a:cubicBezTo>
                  <a:pt x="986" y="0"/>
                  <a:pt x="967" y="0"/>
                  <a:pt x="992" y="0"/>
                </a:cubicBezTo>
                <a:cubicBezTo>
                  <a:pt x="986" y="0"/>
                  <a:pt x="979" y="0"/>
                  <a:pt x="973" y="0"/>
                </a:cubicBezTo>
                <a:cubicBezTo>
                  <a:pt x="973" y="0"/>
                  <a:pt x="973" y="0"/>
                  <a:pt x="961" y="0"/>
                </a:cubicBezTo>
                <a:close/>
                <a:moveTo>
                  <a:pt x="1519" y="946"/>
                </a:moveTo>
                <a:cubicBezTo>
                  <a:pt x="1513" y="953"/>
                  <a:pt x="1507" y="953"/>
                  <a:pt x="1500" y="959"/>
                </a:cubicBezTo>
                <a:cubicBezTo>
                  <a:pt x="1513" y="953"/>
                  <a:pt x="1513" y="946"/>
                  <a:pt x="1519" y="946"/>
                </a:cubicBezTo>
                <a:close/>
                <a:moveTo>
                  <a:pt x="810" y="26"/>
                </a:moveTo>
                <a:cubicBezTo>
                  <a:pt x="797" y="26"/>
                  <a:pt x="779" y="32"/>
                  <a:pt x="760" y="32"/>
                </a:cubicBezTo>
                <a:cubicBezTo>
                  <a:pt x="791" y="32"/>
                  <a:pt x="779" y="32"/>
                  <a:pt x="772" y="32"/>
                </a:cubicBezTo>
                <a:cubicBezTo>
                  <a:pt x="779" y="32"/>
                  <a:pt x="791" y="32"/>
                  <a:pt x="791" y="32"/>
                </a:cubicBezTo>
                <a:cubicBezTo>
                  <a:pt x="791" y="32"/>
                  <a:pt x="791" y="32"/>
                  <a:pt x="797" y="32"/>
                </a:cubicBezTo>
                <a:cubicBezTo>
                  <a:pt x="816" y="26"/>
                  <a:pt x="829" y="26"/>
                  <a:pt x="835" y="26"/>
                </a:cubicBezTo>
                <a:cubicBezTo>
                  <a:pt x="829" y="26"/>
                  <a:pt x="829" y="26"/>
                  <a:pt x="829" y="26"/>
                </a:cubicBezTo>
                <a:cubicBezTo>
                  <a:pt x="835" y="26"/>
                  <a:pt x="810" y="26"/>
                  <a:pt x="810" y="26"/>
                </a:cubicBezTo>
                <a:close/>
                <a:moveTo>
                  <a:pt x="835" y="20"/>
                </a:moveTo>
                <a:cubicBezTo>
                  <a:pt x="848" y="20"/>
                  <a:pt x="848" y="20"/>
                  <a:pt x="854" y="20"/>
                </a:cubicBezTo>
                <a:cubicBezTo>
                  <a:pt x="848" y="20"/>
                  <a:pt x="841" y="20"/>
                  <a:pt x="835" y="20"/>
                </a:cubicBezTo>
                <a:close/>
                <a:moveTo>
                  <a:pt x="1532" y="940"/>
                </a:moveTo>
                <a:cubicBezTo>
                  <a:pt x="1538" y="934"/>
                  <a:pt x="1544" y="927"/>
                  <a:pt x="1557" y="921"/>
                </a:cubicBezTo>
                <a:cubicBezTo>
                  <a:pt x="1544" y="927"/>
                  <a:pt x="1538" y="934"/>
                  <a:pt x="1532" y="940"/>
                </a:cubicBezTo>
                <a:close/>
                <a:moveTo>
                  <a:pt x="835" y="26"/>
                </a:moveTo>
                <a:cubicBezTo>
                  <a:pt x="841" y="26"/>
                  <a:pt x="848" y="26"/>
                  <a:pt x="848" y="26"/>
                </a:cubicBezTo>
                <a:cubicBezTo>
                  <a:pt x="848" y="26"/>
                  <a:pt x="848" y="26"/>
                  <a:pt x="848" y="26"/>
                </a:cubicBezTo>
                <a:cubicBezTo>
                  <a:pt x="841" y="26"/>
                  <a:pt x="841" y="26"/>
                  <a:pt x="835" y="26"/>
                </a:cubicBezTo>
                <a:close/>
                <a:moveTo>
                  <a:pt x="829" y="20"/>
                </a:moveTo>
                <a:cubicBezTo>
                  <a:pt x="829" y="20"/>
                  <a:pt x="823" y="20"/>
                  <a:pt x="823" y="26"/>
                </a:cubicBezTo>
                <a:cubicBezTo>
                  <a:pt x="829" y="20"/>
                  <a:pt x="829" y="20"/>
                  <a:pt x="835" y="20"/>
                </a:cubicBezTo>
                <a:cubicBezTo>
                  <a:pt x="829" y="20"/>
                  <a:pt x="829" y="20"/>
                  <a:pt x="829" y="20"/>
                </a:cubicBezTo>
                <a:close/>
                <a:moveTo>
                  <a:pt x="1776" y="515"/>
                </a:moveTo>
                <a:cubicBezTo>
                  <a:pt x="1776" y="502"/>
                  <a:pt x="1776" y="496"/>
                  <a:pt x="1776" y="489"/>
                </a:cubicBezTo>
                <a:cubicBezTo>
                  <a:pt x="1776" y="496"/>
                  <a:pt x="1776" y="508"/>
                  <a:pt x="1776" y="515"/>
                </a:cubicBezTo>
                <a:close/>
                <a:moveTo>
                  <a:pt x="1764" y="635"/>
                </a:move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lose/>
                <a:moveTo>
                  <a:pt x="1770" y="458"/>
                </a:moveTo>
                <a:cubicBezTo>
                  <a:pt x="1770" y="470"/>
                  <a:pt x="1776" y="477"/>
                  <a:pt x="1776" y="489"/>
                </a:cubicBezTo>
                <a:cubicBezTo>
                  <a:pt x="1776" y="483"/>
                  <a:pt x="1776" y="477"/>
                  <a:pt x="1776" y="477"/>
                </a:cubicBezTo>
                <a:cubicBezTo>
                  <a:pt x="1776" y="477"/>
                  <a:pt x="1776" y="470"/>
                  <a:pt x="1770" y="458"/>
                </a:cubicBezTo>
                <a:close/>
                <a:moveTo>
                  <a:pt x="929" y="223"/>
                </a:moveTo>
                <a:cubicBezTo>
                  <a:pt x="923" y="223"/>
                  <a:pt x="917" y="223"/>
                  <a:pt x="917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04" y="223"/>
                </a:cubicBezTo>
                <a:cubicBezTo>
                  <a:pt x="904" y="223"/>
                  <a:pt x="904" y="223"/>
                  <a:pt x="904" y="229"/>
                </a:cubicBezTo>
                <a:cubicBezTo>
                  <a:pt x="917" y="223"/>
                  <a:pt x="923" y="223"/>
                  <a:pt x="929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848" y="223"/>
                </a:moveTo>
                <a:cubicBezTo>
                  <a:pt x="848" y="223"/>
                  <a:pt x="848" y="223"/>
                  <a:pt x="885" y="216"/>
                </a:cubicBezTo>
                <a:cubicBezTo>
                  <a:pt x="910" y="216"/>
                  <a:pt x="885" y="216"/>
                  <a:pt x="910" y="216"/>
                </a:cubicBezTo>
                <a:cubicBezTo>
                  <a:pt x="910" y="216"/>
                  <a:pt x="917" y="216"/>
                  <a:pt x="917" y="204"/>
                </a:cubicBezTo>
                <a:cubicBezTo>
                  <a:pt x="910" y="216"/>
                  <a:pt x="910" y="216"/>
                  <a:pt x="910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23" y="204"/>
                  <a:pt x="923" y="204"/>
                  <a:pt x="923" y="204"/>
                </a:cubicBezTo>
                <a:cubicBezTo>
                  <a:pt x="923" y="204"/>
                  <a:pt x="929" y="204"/>
                  <a:pt x="936" y="204"/>
                </a:cubicBezTo>
                <a:cubicBezTo>
                  <a:pt x="923" y="204"/>
                  <a:pt x="910" y="204"/>
                  <a:pt x="892" y="216"/>
                </a:cubicBezTo>
                <a:cubicBezTo>
                  <a:pt x="892" y="216"/>
                  <a:pt x="892" y="216"/>
                  <a:pt x="892" y="216"/>
                </a:cubicBezTo>
                <a:cubicBezTo>
                  <a:pt x="879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54" y="223"/>
                  <a:pt x="835" y="223"/>
                  <a:pt x="835" y="223"/>
                </a:cubicBezTo>
                <a:cubicBezTo>
                  <a:pt x="823" y="229"/>
                  <a:pt x="816" y="229"/>
                  <a:pt x="810" y="229"/>
                </a:cubicBezTo>
                <a:cubicBezTo>
                  <a:pt x="816" y="229"/>
                  <a:pt x="823" y="229"/>
                  <a:pt x="841" y="223"/>
                </a:cubicBezTo>
                <a:cubicBezTo>
                  <a:pt x="848" y="223"/>
                  <a:pt x="848" y="223"/>
                  <a:pt x="848" y="223"/>
                </a:cubicBezTo>
                <a:close/>
                <a:moveTo>
                  <a:pt x="929" y="223"/>
                </a:moveTo>
                <a:cubicBezTo>
                  <a:pt x="923" y="223"/>
                  <a:pt x="923" y="223"/>
                  <a:pt x="923" y="223"/>
                </a:cubicBezTo>
                <a:cubicBezTo>
                  <a:pt x="929" y="223"/>
                  <a:pt x="929" y="223"/>
                  <a:pt x="929" y="223"/>
                </a:cubicBezTo>
                <a:close/>
                <a:moveTo>
                  <a:pt x="245" y="464"/>
                </a:moveTo>
                <a:cubicBezTo>
                  <a:pt x="245" y="458"/>
                  <a:pt x="245" y="464"/>
                  <a:pt x="245" y="458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lose/>
                <a:moveTo>
                  <a:pt x="1243" y="1042"/>
                </a:moveTo>
                <a:cubicBezTo>
                  <a:pt x="1243" y="1035"/>
                  <a:pt x="1243" y="1035"/>
                  <a:pt x="1243" y="1035"/>
                </a:cubicBezTo>
                <a:cubicBezTo>
                  <a:pt x="1243" y="1042"/>
                  <a:pt x="1243" y="1042"/>
                  <a:pt x="1243" y="1042"/>
                </a:cubicBezTo>
                <a:close/>
                <a:moveTo>
                  <a:pt x="1287" y="1022"/>
                </a:moveTo>
                <a:cubicBezTo>
                  <a:pt x="1287" y="1022"/>
                  <a:pt x="1293" y="1022"/>
                  <a:pt x="1300" y="1016"/>
                </a:cubicBezTo>
                <a:cubicBezTo>
                  <a:pt x="1306" y="1016"/>
                  <a:pt x="1312" y="1003"/>
                  <a:pt x="1325" y="997"/>
                </a:cubicBezTo>
                <a:cubicBezTo>
                  <a:pt x="1312" y="1003"/>
                  <a:pt x="1300" y="1016"/>
                  <a:pt x="1287" y="1022"/>
                </a:cubicBezTo>
                <a:close/>
                <a:moveTo>
                  <a:pt x="1224" y="1042"/>
                </a:moveTo>
                <a:cubicBezTo>
                  <a:pt x="1243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ubicBezTo>
                  <a:pt x="1224" y="1042"/>
                  <a:pt x="1224" y="1042"/>
                  <a:pt x="1224" y="1042"/>
                </a:cubicBezTo>
                <a:close/>
                <a:moveTo>
                  <a:pt x="1237" y="1042"/>
                </a:moveTo>
                <a:cubicBezTo>
                  <a:pt x="1237" y="1042"/>
                  <a:pt x="1237" y="1042"/>
                  <a:pt x="1243" y="1042"/>
                </a:cubicBezTo>
                <a:cubicBezTo>
                  <a:pt x="1237" y="1042"/>
                  <a:pt x="1237" y="1042"/>
                  <a:pt x="1237" y="1042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672" y="267"/>
                </a:moveTo>
                <a:cubicBezTo>
                  <a:pt x="685" y="267"/>
                  <a:pt x="691" y="267"/>
                  <a:pt x="691" y="267"/>
                </a:cubicBezTo>
                <a:cubicBezTo>
                  <a:pt x="672" y="267"/>
                  <a:pt x="672" y="267"/>
                  <a:pt x="672" y="267"/>
                </a:cubicBezTo>
                <a:close/>
                <a:moveTo>
                  <a:pt x="1425" y="959"/>
                </a:moveTo>
                <a:cubicBezTo>
                  <a:pt x="1425" y="959"/>
                  <a:pt x="1425" y="959"/>
                  <a:pt x="1425" y="959"/>
                </a:cubicBezTo>
                <a:cubicBezTo>
                  <a:pt x="1419" y="959"/>
                  <a:pt x="1419" y="959"/>
                  <a:pt x="1419" y="959"/>
                </a:cubicBezTo>
                <a:cubicBezTo>
                  <a:pt x="1425" y="959"/>
                  <a:pt x="1425" y="959"/>
                  <a:pt x="1425" y="959"/>
                </a:cubicBezTo>
                <a:close/>
                <a:moveTo>
                  <a:pt x="904" y="223"/>
                </a:moveTo>
                <a:cubicBezTo>
                  <a:pt x="910" y="223"/>
                  <a:pt x="910" y="223"/>
                  <a:pt x="910" y="223"/>
                </a:cubicBezTo>
                <a:cubicBezTo>
                  <a:pt x="910" y="223"/>
                  <a:pt x="910" y="223"/>
                  <a:pt x="917" y="223"/>
                </a:cubicBezTo>
                <a:cubicBezTo>
                  <a:pt x="910" y="223"/>
                  <a:pt x="910" y="223"/>
                  <a:pt x="904" y="223"/>
                </a:cubicBezTo>
                <a:close/>
                <a:moveTo>
                  <a:pt x="1325" y="997"/>
                </a:moveTo>
                <a:cubicBezTo>
                  <a:pt x="1331" y="997"/>
                  <a:pt x="1331" y="997"/>
                  <a:pt x="1331" y="997"/>
                </a:cubicBezTo>
                <a:cubicBezTo>
                  <a:pt x="1331" y="997"/>
                  <a:pt x="1331" y="997"/>
                  <a:pt x="1325" y="997"/>
                </a:cubicBezTo>
                <a:close/>
                <a:moveTo>
                  <a:pt x="1431" y="953"/>
                </a:moveTo>
                <a:cubicBezTo>
                  <a:pt x="1431" y="953"/>
                  <a:pt x="1431" y="953"/>
                  <a:pt x="1431" y="953"/>
                </a:cubicBezTo>
                <a:cubicBezTo>
                  <a:pt x="1431" y="953"/>
                  <a:pt x="1431" y="959"/>
                  <a:pt x="1425" y="959"/>
                </a:cubicBezTo>
                <a:cubicBezTo>
                  <a:pt x="1431" y="959"/>
                  <a:pt x="1431" y="953"/>
                  <a:pt x="1431" y="953"/>
                </a:cubicBezTo>
                <a:close/>
                <a:moveTo>
                  <a:pt x="1425" y="959"/>
                </a:moveTo>
                <a:cubicBezTo>
                  <a:pt x="1431" y="953"/>
                  <a:pt x="1438" y="953"/>
                  <a:pt x="1444" y="946"/>
                </a:cubicBezTo>
                <a:cubicBezTo>
                  <a:pt x="1438" y="953"/>
                  <a:pt x="1431" y="953"/>
                  <a:pt x="1425" y="959"/>
                </a:cubicBezTo>
                <a:close/>
                <a:moveTo>
                  <a:pt x="157" y="534"/>
                </a:moveTo>
                <a:cubicBezTo>
                  <a:pt x="145" y="546"/>
                  <a:pt x="139" y="553"/>
                  <a:pt x="132" y="559"/>
                </a:cubicBezTo>
                <a:cubicBezTo>
                  <a:pt x="139" y="553"/>
                  <a:pt x="145" y="553"/>
                  <a:pt x="145" y="546"/>
                </a:cubicBezTo>
                <a:cubicBezTo>
                  <a:pt x="157" y="534"/>
                  <a:pt x="151" y="540"/>
                  <a:pt x="157" y="534"/>
                </a:cubicBezTo>
                <a:close/>
                <a:moveTo>
                  <a:pt x="1011" y="32"/>
                </a:moveTo>
                <a:cubicBezTo>
                  <a:pt x="1017" y="32"/>
                  <a:pt x="1017" y="32"/>
                  <a:pt x="1023" y="32"/>
                </a:cubicBezTo>
                <a:cubicBezTo>
                  <a:pt x="1017" y="32"/>
                  <a:pt x="1011" y="32"/>
                  <a:pt x="1011" y="32"/>
                </a:cubicBezTo>
                <a:close/>
                <a:moveTo>
                  <a:pt x="998" y="32"/>
                </a:moveTo>
                <a:cubicBezTo>
                  <a:pt x="998" y="32"/>
                  <a:pt x="998" y="32"/>
                  <a:pt x="1011" y="32"/>
                </a:cubicBezTo>
                <a:cubicBezTo>
                  <a:pt x="998" y="32"/>
                  <a:pt x="998" y="32"/>
                  <a:pt x="998" y="32"/>
                </a:cubicBezTo>
                <a:close/>
                <a:moveTo>
                  <a:pt x="779" y="39"/>
                </a:moveTo>
                <a:cubicBezTo>
                  <a:pt x="760" y="39"/>
                  <a:pt x="766" y="39"/>
                  <a:pt x="766" y="39"/>
                </a:cubicBezTo>
                <a:cubicBezTo>
                  <a:pt x="754" y="45"/>
                  <a:pt x="741" y="45"/>
                  <a:pt x="728" y="45"/>
                </a:cubicBezTo>
                <a:cubicBezTo>
                  <a:pt x="741" y="45"/>
                  <a:pt x="747" y="45"/>
                  <a:pt x="779" y="39"/>
                </a:cubicBezTo>
                <a:close/>
                <a:moveTo>
                  <a:pt x="1387" y="83"/>
                </a:moveTo>
                <a:cubicBezTo>
                  <a:pt x="1387" y="83"/>
                  <a:pt x="1387" y="83"/>
                  <a:pt x="1387" y="83"/>
                </a:cubicBezTo>
                <a:cubicBezTo>
                  <a:pt x="1381" y="83"/>
                  <a:pt x="1381" y="83"/>
                  <a:pt x="1381" y="83"/>
                </a:cubicBezTo>
                <a:cubicBezTo>
                  <a:pt x="1387" y="83"/>
                  <a:pt x="1387" y="83"/>
                  <a:pt x="1387" y="83"/>
                </a:cubicBezTo>
                <a:close/>
                <a:moveTo>
                  <a:pt x="327" y="400"/>
                </a:moveTo>
                <a:cubicBezTo>
                  <a:pt x="333" y="394"/>
                  <a:pt x="333" y="394"/>
                  <a:pt x="333" y="394"/>
                </a:cubicBezTo>
                <a:cubicBezTo>
                  <a:pt x="327" y="394"/>
                  <a:pt x="327" y="400"/>
                  <a:pt x="327" y="400"/>
                </a:cubicBezTo>
                <a:close/>
                <a:moveTo>
                  <a:pt x="892" y="39"/>
                </a:moveTo>
                <a:cubicBezTo>
                  <a:pt x="904" y="39"/>
                  <a:pt x="904" y="39"/>
                  <a:pt x="904" y="39"/>
                </a:cubicBezTo>
                <a:cubicBezTo>
                  <a:pt x="904" y="39"/>
                  <a:pt x="904" y="39"/>
                  <a:pt x="892" y="39"/>
                </a:cubicBezTo>
                <a:close/>
                <a:moveTo>
                  <a:pt x="873" y="39"/>
                </a:moveTo>
                <a:cubicBezTo>
                  <a:pt x="873" y="39"/>
                  <a:pt x="879" y="39"/>
                  <a:pt x="885" y="39"/>
                </a:cubicBezTo>
                <a:cubicBezTo>
                  <a:pt x="879" y="39"/>
                  <a:pt x="879" y="39"/>
                  <a:pt x="873" y="39"/>
                </a:cubicBezTo>
                <a:close/>
                <a:moveTo>
                  <a:pt x="1262" y="51"/>
                </a:moveTo>
                <a:cubicBezTo>
                  <a:pt x="1268" y="51"/>
                  <a:pt x="1274" y="51"/>
                  <a:pt x="1274" y="51"/>
                </a:cubicBezTo>
                <a:cubicBezTo>
                  <a:pt x="1281" y="51"/>
                  <a:pt x="1287" y="51"/>
                  <a:pt x="1300" y="58"/>
                </a:cubicBezTo>
                <a:cubicBezTo>
                  <a:pt x="1262" y="51"/>
                  <a:pt x="1262" y="51"/>
                  <a:pt x="1262" y="51"/>
                </a:cubicBezTo>
                <a:close/>
                <a:moveTo>
                  <a:pt x="885" y="26"/>
                </a:moveTo>
                <a:cubicBezTo>
                  <a:pt x="879" y="26"/>
                  <a:pt x="879" y="26"/>
                  <a:pt x="873" y="26"/>
                </a:cubicBezTo>
                <a:cubicBezTo>
                  <a:pt x="885" y="26"/>
                  <a:pt x="885" y="26"/>
                  <a:pt x="885" y="26"/>
                </a:cubicBezTo>
                <a:close/>
                <a:moveTo>
                  <a:pt x="860" y="32"/>
                </a:moveTo>
                <a:cubicBezTo>
                  <a:pt x="867" y="32"/>
                  <a:pt x="867" y="32"/>
                  <a:pt x="867" y="32"/>
                </a:cubicBezTo>
                <a:cubicBezTo>
                  <a:pt x="885" y="26"/>
                  <a:pt x="904" y="26"/>
                  <a:pt x="910" y="26"/>
                </a:cubicBezTo>
                <a:cubicBezTo>
                  <a:pt x="860" y="32"/>
                  <a:pt x="860" y="32"/>
                  <a:pt x="860" y="32"/>
                </a:cubicBezTo>
                <a:close/>
                <a:moveTo>
                  <a:pt x="816" y="32"/>
                </a:moveTo>
                <a:cubicBezTo>
                  <a:pt x="816" y="32"/>
                  <a:pt x="816" y="32"/>
                  <a:pt x="810" y="32"/>
                </a:cubicBezTo>
                <a:cubicBezTo>
                  <a:pt x="835" y="32"/>
                  <a:pt x="854" y="32"/>
                  <a:pt x="860" y="26"/>
                </a:cubicBezTo>
                <a:cubicBezTo>
                  <a:pt x="841" y="32"/>
                  <a:pt x="816" y="32"/>
                  <a:pt x="791" y="39"/>
                </a:cubicBezTo>
                <a:cubicBezTo>
                  <a:pt x="797" y="39"/>
                  <a:pt x="804" y="39"/>
                  <a:pt x="816" y="32"/>
                </a:cubicBezTo>
                <a:close/>
                <a:moveTo>
                  <a:pt x="936" y="32"/>
                </a:moveTo>
                <a:cubicBezTo>
                  <a:pt x="942" y="32"/>
                  <a:pt x="948" y="32"/>
                  <a:pt x="954" y="26"/>
                </a:cubicBezTo>
                <a:cubicBezTo>
                  <a:pt x="942" y="26"/>
                  <a:pt x="936" y="32"/>
                  <a:pt x="923" y="32"/>
                </a:cubicBezTo>
                <a:cubicBezTo>
                  <a:pt x="936" y="32"/>
                  <a:pt x="923" y="32"/>
                  <a:pt x="936" y="32"/>
                </a:cubicBezTo>
                <a:close/>
                <a:moveTo>
                  <a:pt x="904" y="39"/>
                </a:moveTo>
                <a:cubicBezTo>
                  <a:pt x="910" y="39"/>
                  <a:pt x="910" y="39"/>
                  <a:pt x="910" y="39"/>
                </a:cubicBezTo>
                <a:cubicBezTo>
                  <a:pt x="910" y="39"/>
                  <a:pt x="910" y="39"/>
                  <a:pt x="904" y="39"/>
                </a:cubicBezTo>
                <a:close/>
                <a:moveTo>
                  <a:pt x="1419" y="96"/>
                </a:moveTo>
                <a:cubicBezTo>
                  <a:pt x="1412" y="89"/>
                  <a:pt x="1406" y="89"/>
                  <a:pt x="1387" y="83"/>
                </a:cubicBezTo>
                <a:cubicBezTo>
                  <a:pt x="1394" y="83"/>
                  <a:pt x="1394" y="83"/>
                  <a:pt x="1400" y="89"/>
                </a:cubicBezTo>
                <a:cubicBezTo>
                  <a:pt x="1400" y="89"/>
                  <a:pt x="1400" y="89"/>
                  <a:pt x="1419" y="96"/>
                </a:cubicBezTo>
                <a:close/>
                <a:moveTo>
                  <a:pt x="829" y="223"/>
                </a:moveTo>
                <a:cubicBezTo>
                  <a:pt x="816" y="223"/>
                  <a:pt x="797" y="229"/>
                  <a:pt x="829" y="223"/>
                </a:cubicBezTo>
                <a:close/>
                <a:moveTo>
                  <a:pt x="1431" y="102"/>
                </a:moveTo>
                <a:cubicBezTo>
                  <a:pt x="1444" y="115"/>
                  <a:pt x="1463" y="115"/>
                  <a:pt x="1469" y="121"/>
                </a:cubicBezTo>
                <a:cubicBezTo>
                  <a:pt x="1456" y="115"/>
                  <a:pt x="1444" y="115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986" y="229"/>
                </a:moveTo>
                <a:cubicBezTo>
                  <a:pt x="973" y="229"/>
                  <a:pt x="967" y="235"/>
                  <a:pt x="961" y="235"/>
                </a:cubicBezTo>
                <a:cubicBezTo>
                  <a:pt x="954" y="235"/>
                  <a:pt x="954" y="235"/>
                  <a:pt x="954" y="235"/>
                </a:cubicBezTo>
                <a:cubicBezTo>
                  <a:pt x="986" y="229"/>
                  <a:pt x="986" y="229"/>
                  <a:pt x="986" y="229"/>
                </a:cubicBezTo>
                <a:close/>
                <a:moveTo>
                  <a:pt x="1494" y="127"/>
                </a:moveTo>
                <a:cubicBezTo>
                  <a:pt x="1494" y="134"/>
                  <a:pt x="1494" y="134"/>
                  <a:pt x="1500" y="134"/>
                </a:cubicBezTo>
                <a:cubicBezTo>
                  <a:pt x="1494" y="134"/>
                  <a:pt x="1494" y="134"/>
                  <a:pt x="1494" y="127"/>
                </a:cubicBezTo>
                <a:cubicBezTo>
                  <a:pt x="1494" y="127"/>
                  <a:pt x="1494" y="127"/>
                  <a:pt x="1494" y="127"/>
                </a:cubicBezTo>
                <a:close/>
                <a:moveTo>
                  <a:pt x="810" y="229"/>
                </a:move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ubicBezTo>
                  <a:pt x="810" y="229"/>
                  <a:pt x="810" y="229"/>
                  <a:pt x="810" y="229"/>
                </a:cubicBezTo>
                <a:close/>
                <a:moveTo>
                  <a:pt x="327" y="400"/>
                </a:move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ubicBezTo>
                  <a:pt x="327" y="400"/>
                  <a:pt x="327" y="400"/>
                  <a:pt x="327" y="400"/>
                </a:cubicBezTo>
                <a:close/>
                <a:moveTo>
                  <a:pt x="327" y="400"/>
                </a:moveTo>
                <a:cubicBezTo>
                  <a:pt x="314" y="407"/>
                  <a:pt x="308" y="419"/>
                  <a:pt x="295" y="426"/>
                </a:cubicBezTo>
                <a:cubicBezTo>
                  <a:pt x="302" y="419"/>
                  <a:pt x="314" y="407"/>
                  <a:pt x="321" y="407"/>
                </a:cubicBezTo>
                <a:cubicBezTo>
                  <a:pt x="321" y="400"/>
                  <a:pt x="321" y="400"/>
                  <a:pt x="327" y="400"/>
                </a:cubicBezTo>
                <a:close/>
                <a:moveTo>
                  <a:pt x="1463" y="115"/>
                </a:moveTo>
                <a:cubicBezTo>
                  <a:pt x="1463" y="115"/>
                  <a:pt x="1463" y="115"/>
                  <a:pt x="1456" y="115"/>
                </a:cubicBezTo>
                <a:cubicBezTo>
                  <a:pt x="1463" y="115"/>
                  <a:pt x="1469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69" y="121"/>
                  <a:pt x="1469" y="121"/>
                  <a:pt x="1469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75" y="121"/>
                  <a:pt x="1475" y="121"/>
                  <a:pt x="1475" y="121"/>
                </a:cubicBezTo>
                <a:cubicBezTo>
                  <a:pt x="1482" y="127"/>
                  <a:pt x="1494" y="134"/>
                  <a:pt x="1507" y="140"/>
                </a:cubicBezTo>
                <a:cubicBezTo>
                  <a:pt x="1500" y="134"/>
                  <a:pt x="1494" y="134"/>
                  <a:pt x="1482" y="127"/>
                </a:cubicBezTo>
                <a:cubicBezTo>
                  <a:pt x="1488" y="127"/>
                  <a:pt x="1494" y="127"/>
                  <a:pt x="1494" y="127"/>
                </a:cubicBezTo>
                <a:cubicBezTo>
                  <a:pt x="1482" y="121"/>
                  <a:pt x="1463" y="115"/>
                  <a:pt x="1444" y="102"/>
                </a:cubicBezTo>
                <a:cubicBezTo>
                  <a:pt x="1444" y="102"/>
                  <a:pt x="1444" y="102"/>
                  <a:pt x="1463" y="115"/>
                </a:cubicBezTo>
                <a:close/>
                <a:moveTo>
                  <a:pt x="1431" y="102"/>
                </a:moveTo>
                <a:cubicBezTo>
                  <a:pt x="1406" y="89"/>
                  <a:pt x="1387" y="83"/>
                  <a:pt x="1369" y="77"/>
                </a:cubicBezTo>
                <a:cubicBezTo>
                  <a:pt x="1381" y="83"/>
                  <a:pt x="1394" y="83"/>
                  <a:pt x="1400" y="89"/>
                </a:cubicBezTo>
                <a:cubicBezTo>
                  <a:pt x="1406" y="89"/>
                  <a:pt x="1419" y="96"/>
                  <a:pt x="1419" y="96"/>
                </a:cubicBezTo>
                <a:cubicBezTo>
                  <a:pt x="1425" y="102"/>
                  <a:pt x="1425" y="102"/>
                  <a:pt x="1431" y="102"/>
                </a:cubicBezTo>
                <a:cubicBezTo>
                  <a:pt x="1431" y="102"/>
                  <a:pt x="1431" y="102"/>
                  <a:pt x="1431" y="102"/>
                </a:cubicBezTo>
                <a:close/>
                <a:moveTo>
                  <a:pt x="565" y="286"/>
                </a:moveTo>
                <a:cubicBezTo>
                  <a:pt x="572" y="286"/>
                  <a:pt x="572" y="286"/>
                  <a:pt x="572" y="286"/>
                </a:cubicBezTo>
                <a:cubicBezTo>
                  <a:pt x="553" y="292"/>
                  <a:pt x="540" y="299"/>
                  <a:pt x="534" y="299"/>
                </a:cubicBezTo>
                <a:cubicBezTo>
                  <a:pt x="540" y="299"/>
                  <a:pt x="540" y="299"/>
                  <a:pt x="540" y="299"/>
                </a:cubicBezTo>
                <a:cubicBezTo>
                  <a:pt x="546" y="292"/>
                  <a:pt x="553" y="292"/>
                  <a:pt x="565" y="286"/>
                </a:cubicBezTo>
                <a:close/>
                <a:moveTo>
                  <a:pt x="1444" y="102"/>
                </a:moveTo>
                <a:cubicBezTo>
                  <a:pt x="1431" y="102"/>
                  <a:pt x="1438" y="102"/>
                  <a:pt x="1431" y="96"/>
                </a:cubicBezTo>
                <a:cubicBezTo>
                  <a:pt x="1431" y="102"/>
                  <a:pt x="1431" y="102"/>
                  <a:pt x="1431" y="102"/>
                </a:cubicBezTo>
                <a:cubicBezTo>
                  <a:pt x="1438" y="102"/>
                  <a:pt x="1444" y="102"/>
                  <a:pt x="1456" y="115"/>
                </a:cubicBezTo>
                <a:cubicBezTo>
                  <a:pt x="1444" y="102"/>
                  <a:pt x="1444" y="102"/>
                  <a:pt x="1444" y="102"/>
                </a:cubicBezTo>
                <a:close/>
                <a:moveTo>
                  <a:pt x="1325" y="70"/>
                </a:moveTo>
                <a:cubicBezTo>
                  <a:pt x="1325" y="70"/>
                  <a:pt x="1325" y="70"/>
                  <a:pt x="1318" y="70"/>
                </a:cubicBezTo>
                <a:cubicBezTo>
                  <a:pt x="1331" y="70"/>
                  <a:pt x="1350" y="77"/>
                  <a:pt x="1362" y="77"/>
                </a:cubicBezTo>
                <a:cubicBezTo>
                  <a:pt x="1356" y="77"/>
                  <a:pt x="1337" y="70"/>
                  <a:pt x="1325" y="70"/>
                </a:cubicBezTo>
                <a:close/>
                <a:moveTo>
                  <a:pt x="628" y="70"/>
                </a:moveTo>
                <a:cubicBezTo>
                  <a:pt x="641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1" y="64"/>
                  <a:pt x="634" y="70"/>
                  <a:pt x="628" y="70"/>
                </a:cubicBezTo>
                <a:close/>
                <a:moveTo>
                  <a:pt x="659" y="64"/>
                </a:moveTo>
                <a:cubicBezTo>
                  <a:pt x="653" y="64"/>
                  <a:pt x="634" y="70"/>
                  <a:pt x="659" y="64"/>
                </a:cubicBezTo>
                <a:close/>
                <a:moveTo>
                  <a:pt x="0" y="845"/>
                </a:moveTo>
                <a:cubicBezTo>
                  <a:pt x="0" y="851"/>
                  <a:pt x="13" y="851"/>
                  <a:pt x="13" y="857"/>
                </a:cubicBezTo>
                <a:cubicBezTo>
                  <a:pt x="0" y="851"/>
                  <a:pt x="0" y="845"/>
                  <a:pt x="0" y="845"/>
                </a:cubicBezTo>
                <a:close/>
                <a:moveTo>
                  <a:pt x="19" y="889"/>
                </a:moveTo>
                <a:cubicBezTo>
                  <a:pt x="19" y="889"/>
                  <a:pt x="19" y="889"/>
                  <a:pt x="19" y="883"/>
                </a:cubicBezTo>
                <a:cubicBezTo>
                  <a:pt x="19" y="883"/>
                  <a:pt x="19" y="883"/>
                  <a:pt x="19" y="889"/>
                </a:cubicBezTo>
                <a:cubicBezTo>
                  <a:pt x="19" y="883"/>
                  <a:pt x="19" y="883"/>
                  <a:pt x="19" y="883"/>
                </a:cubicBezTo>
                <a:cubicBezTo>
                  <a:pt x="13" y="876"/>
                  <a:pt x="13" y="876"/>
                  <a:pt x="13" y="870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64"/>
                  <a:pt x="13" y="864"/>
                  <a:pt x="13" y="864"/>
                </a:cubicBezTo>
                <a:cubicBezTo>
                  <a:pt x="13" y="870"/>
                  <a:pt x="13" y="870"/>
                  <a:pt x="13" y="870"/>
                </a:cubicBezTo>
                <a:cubicBezTo>
                  <a:pt x="13" y="876"/>
                  <a:pt x="13" y="883"/>
                  <a:pt x="19" y="896"/>
                </a:cubicBezTo>
                <a:cubicBezTo>
                  <a:pt x="19" y="889"/>
                  <a:pt x="19" y="889"/>
                  <a:pt x="13" y="889"/>
                </a:cubicBezTo>
                <a:cubicBezTo>
                  <a:pt x="19" y="896"/>
                  <a:pt x="19" y="902"/>
                  <a:pt x="26" y="908"/>
                </a:cubicBezTo>
                <a:cubicBezTo>
                  <a:pt x="26" y="908"/>
                  <a:pt x="26" y="908"/>
                  <a:pt x="26" y="921"/>
                </a:cubicBezTo>
                <a:cubicBezTo>
                  <a:pt x="26" y="908"/>
                  <a:pt x="26" y="908"/>
                  <a:pt x="26" y="908"/>
                </a:cubicBezTo>
                <a:cubicBezTo>
                  <a:pt x="26" y="921"/>
                  <a:pt x="26" y="927"/>
                  <a:pt x="32" y="927"/>
                </a:cubicBezTo>
                <a:cubicBezTo>
                  <a:pt x="26" y="908"/>
                  <a:pt x="19" y="902"/>
                  <a:pt x="19" y="902"/>
                </a:cubicBezTo>
                <a:cubicBezTo>
                  <a:pt x="19" y="896"/>
                  <a:pt x="19" y="896"/>
                  <a:pt x="19" y="896"/>
                </a:cubicBezTo>
                <a:cubicBezTo>
                  <a:pt x="19" y="902"/>
                  <a:pt x="26" y="908"/>
                  <a:pt x="32" y="927"/>
                </a:cubicBezTo>
                <a:cubicBezTo>
                  <a:pt x="26" y="908"/>
                  <a:pt x="19" y="896"/>
                  <a:pt x="19" y="889"/>
                </a:cubicBezTo>
                <a:cubicBezTo>
                  <a:pt x="19" y="889"/>
                  <a:pt x="19" y="889"/>
                  <a:pt x="19" y="889"/>
                </a:cubicBezTo>
                <a:close/>
                <a:moveTo>
                  <a:pt x="13" y="857"/>
                </a:moveTo>
                <a:cubicBezTo>
                  <a:pt x="13" y="864"/>
                  <a:pt x="13" y="864"/>
                  <a:pt x="13" y="864"/>
                </a:cubicBezTo>
                <a:cubicBezTo>
                  <a:pt x="13" y="864"/>
                  <a:pt x="13" y="864"/>
                  <a:pt x="13" y="857"/>
                </a:cubicBezTo>
                <a:cubicBezTo>
                  <a:pt x="13" y="857"/>
                  <a:pt x="13" y="857"/>
                  <a:pt x="13" y="857"/>
                </a:cubicBezTo>
                <a:close/>
                <a:moveTo>
                  <a:pt x="327" y="445"/>
                </a:moveTo>
                <a:cubicBezTo>
                  <a:pt x="327" y="445"/>
                  <a:pt x="327" y="445"/>
                  <a:pt x="333" y="445"/>
                </a:cubicBezTo>
                <a:cubicBezTo>
                  <a:pt x="327" y="445"/>
                  <a:pt x="327" y="445"/>
                  <a:pt x="327" y="445"/>
                </a:cubicBezTo>
                <a:close/>
                <a:moveTo>
                  <a:pt x="321" y="451"/>
                </a:moveTo>
                <a:cubicBezTo>
                  <a:pt x="321" y="451"/>
                  <a:pt x="321" y="451"/>
                  <a:pt x="327" y="445"/>
                </a:cubicBezTo>
                <a:cubicBezTo>
                  <a:pt x="327" y="445"/>
                  <a:pt x="327" y="445"/>
                  <a:pt x="321" y="451"/>
                </a:cubicBezTo>
                <a:close/>
                <a:moveTo>
                  <a:pt x="1714" y="356"/>
                </a:moveTo>
                <a:cubicBezTo>
                  <a:pt x="1707" y="350"/>
                  <a:pt x="1707" y="350"/>
                  <a:pt x="1707" y="350"/>
                </a:cubicBezTo>
                <a:cubicBezTo>
                  <a:pt x="1707" y="343"/>
                  <a:pt x="1707" y="337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24"/>
                  <a:pt x="1695" y="324"/>
                  <a:pt x="1695" y="318"/>
                </a:cubicBezTo>
                <a:cubicBezTo>
                  <a:pt x="1695" y="318"/>
                  <a:pt x="1701" y="324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7" y="337"/>
                  <a:pt x="1707" y="350"/>
                  <a:pt x="1714" y="356"/>
                </a:cubicBezTo>
                <a:close/>
                <a:moveTo>
                  <a:pt x="1664" y="273"/>
                </a:moveTo>
                <a:cubicBezTo>
                  <a:pt x="1664" y="273"/>
                  <a:pt x="1664" y="267"/>
                  <a:pt x="1657" y="267"/>
                </a:cubicBezTo>
                <a:cubicBezTo>
                  <a:pt x="1651" y="254"/>
                  <a:pt x="1651" y="261"/>
                  <a:pt x="1664" y="267"/>
                </a:cubicBezTo>
                <a:cubicBezTo>
                  <a:pt x="1670" y="280"/>
                  <a:pt x="1664" y="273"/>
                  <a:pt x="1664" y="273"/>
                </a:cubicBezTo>
                <a:close/>
                <a:moveTo>
                  <a:pt x="1695" y="324"/>
                </a:moveTo>
                <a:cubicBezTo>
                  <a:pt x="1701" y="324"/>
                  <a:pt x="1701" y="331"/>
                  <a:pt x="1701" y="331"/>
                </a:cubicBezTo>
                <a:cubicBezTo>
                  <a:pt x="1701" y="331"/>
                  <a:pt x="1701" y="331"/>
                  <a:pt x="1701" y="331"/>
                </a:cubicBezTo>
                <a:cubicBezTo>
                  <a:pt x="1701" y="331"/>
                  <a:pt x="1701" y="331"/>
                  <a:pt x="1695" y="324"/>
                </a:cubicBezTo>
                <a:close/>
                <a:moveTo>
                  <a:pt x="1739" y="540"/>
                </a:moveTo>
                <a:cubicBezTo>
                  <a:pt x="1739" y="572"/>
                  <a:pt x="1739" y="572"/>
                  <a:pt x="1739" y="572"/>
                </a:cubicBezTo>
                <a:cubicBezTo>
                  <a:pt x="1739" y="553"/>
                  <a:pt x="1739" y="553"/>
                  <a:pt x="1739" y="553"/>
                </a:cubicBezTo>
                <a:cubicBezTo>
                  <a:pt x="1739" y="540"/>
                  <a:pt x="1739" y="540"/>
                  <a:pt x="1739" y="540"/>
                </a:cubicBezTo>
                <a:close/>
                <a:moveTo>
                  <a:pt x="754" y="1124"/>
                </a:moveTo>
                <a:cubicBezTo>
                  <a:pt x="747" y="1124"/>
                  <a:pt x="741" y="1130"/>
                  <a:pt x="735" y="1130"/>
                </a:cubicBezTo>
                <a:cubicBezTo>
                  <a:pt x="741" y="1130"/>
                  <a:pt x="747" y="1124"/>
                  <a:pt x="754" y="1124"/>
                </a:cubicBezTo>
                <a:close/>
                <a:moveTo>
                  <a:pt x="754" y="1124"/>
                </a:moveTo>
                <a:cubicBezTo>
                  <a:pt x="760" y="1124"/>
                  <a:pt x="772" y="1124"/>
                  <a:pt x="791" y="1124"/>
                </a:cubicBezTo>
                <a:cubicBezTo>
                  <a:pt x="766" y="1124"/>
                  <a:pt x="766" y="1124"/>
                  <a:pt x="766" y="1124"/>
                </a:cubicBezTo>
                <a:cubicBezTo>
                  <a:pt x="760" y="1124"/>
                  <a:pt x="760" y="1124"/>
                  <a:pt x="754" y="1124"/>
                </a:cubicBezTo>
                <a:close/>
                <a:moveTo>
                  <a:pt x="1375" y="984"/>
                </a:moveTo>
                <a:cubicBezTo>
                  <a:pt x="1381" y="978"/>
                  <a:pt x="1369" y="984"/>
                  <a:pt x="1394" y="972"/>
                </a:cubicBezTo>
                <a:cubicBezTo>
                  <a:pt x="1394" y="972"/>
                  <a:pt x="1394" y="972"/>
                  <a:pt x="1406" y="965"/>
                </a:cubicBezTo>
                <a:cubicBezTo>
                  <a:pt x="1387" y="978"/>
                  <a:pt x="1381" y="978"/>
                  <a:pt x="1369" y="984"/>
                </a:cubicBezTo>
                <a:cubicBezTo>
                  <a:pt x="1369" y="984"/>
                  <a:pt x="1362" y="991"/>
                  <a:pt x="1375" y="984"/>
                </a:cubicBezTo>
                <a:close/>
                <a:moveTo>
                  <a:pt x="1419" y="959"/>
                </a:moveTo>
                <a:cubicBezTo>
                  <a:pt x="1412" y="965"/>
                  <a:pt x="1412" y="965"/>
                  <a:pt x="1406" y="965"/>
                </a:cubicBezTo>
                <a:cubicBezTo>
                  <a:pt x="1412" y="965"/>
                  <a:pt x="1412" y="965"/>
                  <a:pt x="1419" y="959"/>
                </a:cubicBezTo>
                <a:close/>
                <a:moveTo>
                  <a:pt x="1350" y="997"/>
                </a:moveTo>
                <a:cubicBezTo>
                  <a:pt x="1337" y="997"/>
                  <a:pt x="1337" y="997"/>
                  <a:pt x="1331" y="997"/>
                </a:cubicBezTo>
                <a:cubicBezTo>
                  <a:pt x="1331" y="997"/>
                  <a:pt x="1337" y="997"/>
                  <a:pt x="1350" y="997"/>
                </a:cubicBezTo>
                <a:close/>
                <a:moveTo>
                  <a:pt x="1350" y="991"/>
                </a:moveTo>
                <a:cubicBezTo>
                  <a:pt x="1350" y="997"/>
                  <a:pt x="1350" y="997"/>
                  <a:pt x="1350" y="997"/>
                </a:cubicBezTo>
                <a:cubicBezTo>
                  <a:pt x="1350" y="997"/>
                  <a:pt x="1350" y="997"/>
                  <a:pt x="1350" y="991"/>
                </a:cubicBezTo>
                <a:close/>
                <a:moveTo>
                  <a:pt x="1714" y="356"/>
                </a:moveTo>
                <a:cubicBezTo>
                  <a:pt x="1714" y="350"/>
                  <a:pt x="1707" y="337"/>
                  <a:pt x="1707" y="337"/>
                </a:cubicBezTo>
                <a:cubicBezTo>
                  <a:pt x="1707" y="337"/>
                  <a:pt x="1707" y="337"/>
                  <a:pt x="1707" y="331"/>
                </a:cubicBezTo>
                <a:cubicBezTo>
                  <a:pt x="1707" y="337"/>
                  <a:pt x="1707" y="337"/>
                  <a:pt x="1714" y="350"/>
                </a:cubicBezTo>
                <a:cubicBezTo>
                  <a:pt x="1714" y="356"/>
                  <a:pt x="1714" y="350"/>
                  <a:pt x="1714" y="356"/>
                </a:cubicBezTo>
                <a:close/>
                <a:moveTo>
                  <a:pt x="1720" y="362"/>
                </a:moveTo>
                <a:cubicBezTo>
                  <a:pt x="1714" y="356"/>
                  <a:pt x="1714" y="356"/>
                  <a:pt x="1714" y="356"/>
                </a:cubicBezTo>
                <a:cubicBezTo>
                  <a:pt x="1720" y="356"/>
                  <a:pt x="1720" y="356"/>
                  <a:pt x="1720" y="356"/>
                </a:cubicBezTo>
                <a:cubicBezTo>
                  <a:pt x="1714" y="356"/>
                  <a:pt x="1714" y="350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14" y="356"/>
                </a:cubicBezTo>
                <a:cubicBezTo>
                  <a:pt x="1714" y="356"/>
                  <a:pt x="1714" y="356"/>
                  <a:pt x="1720" y="362"/>
                </a:cubicBezTo>
                <a:close/>
                <a:moveTo>
                  <a:pt x="1400" y="972"/>
                </a:moveTo>
                <a:cubicBezTo>
                  <a:pt x="1419" y="959"/>
                  <a:pt x="1419" y="959"/>
                  <a:pt x="1419" y="959"/>
                </a:cubicBezTo>
                <a:cubicBezTo>
                  <a:pt x="1400" y="972"/>
                  <a:pt x="1387" y="978"/>
                  <a:pt x="1400" y="972"/>
                </a:cubicBezTo>
                <a:close/>
                <a:moveTo>
                  <a:pt x="1048" y="223"/>
                </a:moveTo>
                <a:cubicBezTo>
                  <a:pt x="1048" y="223"/>
                  <a:pt x="1048" y="223"/>
                  <a:pt x="1055" y="223"/>
                </a:cubicBezTo>
                <a:cubicBezTo>
                  <a:pt x="1048" y="223"/>
                  <a:pt x="1042" y="223"/>
                  <a:pt x="1042" y="223"/>
                </a:cubicBezTo>
                <a:cubicBezTo>
                  <a:pt x="1042" y="223"/>
                  <a:pt x="1042" y="223"/>
                  <a:pt x="1048" y="223"/>
                </a:cubicBezTo>
                <a:close/>
                <a:moveTo>
                  <a:pt x="1067" y="216"/>
                </a:moveTo>
                <a:cubicBezTo>
                  <a:pt x="1061" y="216"/>
                  <a:pt x="1061" y="216"/>
                  <a:pt x="1055" y="223"/>
                </a:cubicBezTo>
                <a:cubicBezTo>
                  <a:pt x="1067" y="216"/>
                  <a:pt x="1067" y="216"/>
                  <a:pt x="1067" y="216"/>
                </a:cubicBezTo>
                <a:close/>
                <a:moveTo>
                  <a:pt x="986" y="223"/>
                </a:moveTo>
                <a:cubicBezTo>
                  <a:pt x="992" y="223"/>
                  <a:pt x="998" y="223"/>
                  <a:pt x="1017" y="216"/>
                </a:cubicBezTo>
                <a:cubicBezTo>
                  <a:pt x="1011" y="223"/>
                  <a:pt x="992" y="223"/>
                  <a:pt x="986" y="223"/>
                </a:cubicBezTo>
                <a:close/>
                <a:moveTo>
                  <a:pt x="1017" y="216"/>
                </a:moveTo>
                <a:cubicBezTo>
                  <a:pt x="1030" y="216"/>
                  <a:pt x="1036" y="216"/>
                  <a:pt x="1048" y="216"/>
                </a:cubicBezTo>
                <a:cubicBezTo>
                  <a:pt x="1036" y="216"/>
                  <a:pt x="1030" y="216"/>
                  <a:pt x="1017" y="216"/>
                </a:cubicBezTo>
                <a:close/>
                <a:moveTo>
                  <a:pt x="1055" y="216"/>
                </a:moveTo>
                <a:cubicBezTo>
                  <a:pt x="1092" y="216"/>
                  <a:pt x="1099" y="216"/>
                  <a:pt x="1149" y="216"/>
                </a:cubicBezTo>
                <a:cubicBezTo>
                  <a:pt x="1130" y="216"/>
                  <a:pt x="1099" y="216"/>
                  <a:pt x="1074" y="216"/>
                </a:cubicBezTo>
                <a:cubicBezTo>
                  <a:pt x="1067" y="216"/>
                  <a:pt x="1061" y="216"/>
                  <a:pt x="1055" y="216"/>
                </a:cubicBezTo>
                <a:close/>
                <a:moveTo>
                  <a:pt x="1130" y="204"/>
                </a:moveTo>
                <a:cubicBezTo>
                  <a:pt x="1130" y="204"/>
                  <a:pt x="1136" y="204"/>
                  <a:pt x="1143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55" y="204"/>
                  <a:pt x="1155" y="204"/>
                  <a:pt x="1155" y="204"/>
                </a:cubicBezTo>
                <a:cubicBezTo>
                  <a:pt x="1130" y="204"/>
                  <a:pt x="1136" y="204"/>
                  <a:pt x="1105" y="204"/>
                </a:cubicBezTo>
                <a:cubicBezTo>
                  <a:pt x="1105" y="204"/>
                  <a:pt x="1105" y="204"/>
                  <a:pt x="1074" y="204"/>
                </a:cubicBezTo>
                <a:cubicBezTo>
                  <a:pt x="1086" y="204"/>
                  <a:pt x="1092" y="204"/>
                  <a:pt x="1099" y="204"/>
                </a:cubicBezTo>
                <a:cubicBezTo>
                  <a:pt x="1105" y="204"/>
                  <a:pt x="1105" y="204"/>
                  <a:pt x="1111" y="204"/>
                </a:cubicBezTo>
                <a:cubicBezTo>
                  <a:pt x="1118" y="204"/>
                  <a:pt x="1118" y="204"/>
                  <a:pt x="1130" y="204"/>
                </a:cubicBezTo>
                <a:close/>
                <a:moveTo>
                  <a:pt x="948" y="216"/>
                </a:moveTo>
                <a:cubicBezTo>
                  <a:pt x="936" y="216"/>
                  <a:pt x="936" y="216"/>
                  <a:pt x="936" y="216"/>
                </a:cubicBezTo>
                <a:cubicBezTo>
                  <a:pt x="923" y="223"/>
                  <a:pt x="923" y="223"/>
                  <a:pt x="923" y="223"/>
                </a:cubicBezTo>
                <a:cubicBezTo>
                  <a:pt x="948" y="216"/>
                  <a:pt x="948" y="216"/>
                  <a:pt x="948" y="216"/>
                </a:cubicBezTo>
                <a:close/>
                <a:moveTo>
                  <a:pt x="979" y="216"/>
                </a:moveTo>
                <a:cubicBezTo>
                  <a:pt x="986" y="216"/>
                  <a:pt x="986" y="216"/>
                  <a:pt x="986" y="216"/>
                </a:cubicBezTo>
                <a:cubicBezTo>
                  <a:pt x="1023" y="204"/>
                  <a:pt x="1023" y="204"/>
                  <a:pt x="1023" y="204"/>
                </a:cubicBezTo>
                <a:cubicBezTo>
                  <a:pt x="1011" y="204"/>
                  <a:pt x="1011" y="204"/>
                  <a:pt x="1011" y="204"/>
                </a:cubicBezTo>
                <a:cubicBezTo>
                  <a:pt x="979" y="216"/>
                  <a:pt x="979" y="216"/>
                  <a:pt x="979" y="216"/>
                </a:cubicBezTo>
                <a:close/>
                <a:moveTo>
                  <a:pt x="1030" y="204"/>
                </a:moveTo>
                <a:cubicBezTo>
                  <a:pt x="1023" y="204"/>
                  <a:pt x="1023" y="204"/>
                  <a:pt x="1023" y="204"/>
                </a:cubicBezTo>
                <a:cubicBezTo>
                  <a:pt x="1030" y="204"/>
                  <a:pt x="1036" y="204"/>
                  <a:pt x="1042" y="204"/>
                </a:cubicBezTo>
                <a:cubicBezTo>
                  <a:pt x="1042" y="204"/>
                  <a:pt x="1048" y="204"/>
                  <a:pt x="1055" y="204"/>
                </a:cubicBezTo>
                <a:cubicBezTo>
                  <a:pt x="1055" y="204"/>
                  <a:pt x="1055" y="204"/>
                  <a:pt x="1055" y="204"/>
                </a:cubicBezTo>
                <a:cubicBezTo>
                  <a:pt x="998" y="204"/>
                  <a:pt x="1023" y="204"/>
                  <a:pt x="961" y="216"/>
                </a:cubicBezTo>
                <a:cubicBezTo>
                  <a:pt x="942" y="216"/>
                  <a:pt x="948" y="216"/>
                  <a:pt x="936" y="216"/>
                </a:cubicBezTo>
                <a:cubicBezTo>
                  <a:pt x="992" y="216"/>
                  <a:pt x="986" y="204"/>
                  <a:pt x="1030" y="204"/>
                </a:cubicBezTo>
                <a:close/>
                <a:moveTo>
                  <a:pt x="873" y="223"/>
                </a:moveTo>
                <a:cubicBezTo>
                  <a:pt x="892" y="223"/>
                  <a:pt x="892" y="223"/>
                  <a:pt x="892" y="223"/>
                </a:cubicBezTo>
                <a:cubicBezTo>
                  <a:pt x="873" y="223"/>
                  <a:pt x="867" y="223"/>
                  <a:pt x="873" y="223"/>
                </a:cubicBezTo>
                <a:close/>
                <a:moveTo>
                  <a:pt x="823" y="235"/>
                </a:moveTo>
                <a:cubicBezTo>
                  <a:pt x="823" y="235"/>
                  <a:pt x="823" y="235"/>
                  <a:pt x="829" y="235"/>
                </a:cubicBezTo>
                <a:cubicBezTo>
                  <a:pt x="797" y="242"/>
                  <a:pt x="797" y="242"/>
                  <a:pt x="797" y="242"/>
                </a:cubicBezTo>
                <a:cubicBezTo>
                  <a:pt x="804" y="235"/>
                  <a:pt x="810" y="235"/>
                  <a:pt x="823" y="235"/>
                </a:cubicBezTo>
                <a:close/>
                <a:moveTo>
                  <a:pt x="772" y="248"/>
                </a:moveTo>
                <a:cubicBezTo>
                  <a:pt x="766" y="248"/>
                  <a:pt x="766" y="248"/>
                  <a:pt x="760" y="248"/>
                </a:cubicBezTo>
                <a:cubicBezTo>
                  <a:pt x="766" y="248"/>
                  <a:pt x="766" y="248"/>
                  <a:pt x="772" y="248"/>
                </a:cubicBezTo>
                <a:close/>
                <a:moveTo>
                  <a:pt x="741" y="254"/>
                </a:moveTo>
                <a:cubicBezTo>
                  <a:pt x="741" y="254"/>
                  <a:pt x="741" y="254"/>
                  <a:pt x="754" y="248"/>
                </a:cubicBezTo>
                <a:cubicBezTo>
                  <a:pt x="754" y="248"/>
                  <a:pt x="754" y="248"/>
                  <a:pt x="766" y="248"/>
                </a:cubicBezTo>
                <a:cubicBezTo>
                  <a:pt x="760" y="248"/>
                  <a:pt x="754" y="248"/>
                  <a:pt x="747" y="248"/>
                </a:cubicBezTo>
                <a:cubicBezTo>
                  <a:pt x="747" y="248"/>
                  <a:pt x="716" y="261"/>
                  <a:pt x="691" y="267"/>
                </a:cubicBezTo>
                <a:cubicBezTo>
                  <a:pt x="722" y="254"/>
                  <a:pt x="722" y="261"/>
                  <a:pt x="741" y="254"/>
                </a:cubicBezTo>
                <a:close/>
                <a:moveTo>
                  <a:pt x="841" y="235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1" y="235"/>
                  <a:pt x="835" y="235"/>
                  <a:pt x="829" y="235"/>
                </a:cubicBezTo>
                <a:cubicBezTo>
                  <a:pt x="829" y="235"/>
                  <a:pt x="835" y="235"/>
                  <a:pt x="841" y="235"/>
                </a:cubicBezTo>
                <a:close/>
                <a:moveTo>
                  <a:pt x="829" y="235"/>
                </a:move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lose/>
                <a:moveTo>
                  <a:pt x="823" y="235"/>
                </a:moveTo>
                <a:cubicBezTo>
                  <a:pt x="816" y="235"/>
                  <a:pt x="816" y="235"/>
                  <a:pt x="791" y="242"/>
                </a:cubicBezTo>
                <a:cubicBezTo>
                  <a:pt x="779" y="242"/>
                  <a:pt x="779" y="242"/>
                  <a:pt x="772" y="242"/>
                </a:cubicBezTo>
                <a:cubicBezTo>
                  <a:pt x="772" y="248"/>
                  <a:pt x="772" y="248"/>
                  <a:pt x="772" y="248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79" y="242"/>
                  <a:pt x="779" y="242"/>
                  <a:pt x="816" y="235"/>
                </a:cubicBezTo>
                <a:cubicBezTo>
                  <a:pt x="816" y="235"/>
                  <a:pt x="816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41" y="235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60" y="229"/>
                  <a:pt x="873" y="229"/>
                  <a:pt x="885" y="223"/>
                </a:cubicBezTo>
                <a:cubicBezTo>
                  <a:pt x="879" y="223"/>
                  <a:pt x="879" y="223"/>
                  <a:pt x="873" y="223"/>
                </a:cubicBezTo>
                <a:cubicBezTo>
                  <a:pt x="873" y="229"/>
                  <a:pt x="867" y="229"/>
                  <a:pt x="854" y="229"/>
                </a:cubicBezTo>
                <a:cubicBezTo>
                  <a:pt x="854" y="229"/>
                  <a:pt x="854" y="229"/>
                  <a:pt x="867" y="229"/>
                </a:cubicBezTo>
                <a:cubicBezTo>
                  <a:pt x="860" y="229"/>
                  <a:pt x="848" y="229"/>
                  <a:pt x="841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29"/>
                  <a:pt x="841" y="229"/>
                  <a:pt x="841" y="229"/>
                </a:cubicBezTo>
                <a:cubicBezTo>
                  <a:pt x="835" y="229"/>
                  <a:pt x="829" y="235"/>
                  <a:pt x="823" y="235"/>
                </a:cubicBezTo>
                <a:close/>
                <a:moveTo>
                  <a:pt x="760" y="248"/>
                </a:moveTo>
                <a:cubicBezTo>
                  <a:pt x="754" y="248"/>
                  <a:pt x="754" y="248"/>
                  <a:pt x="741" y="254"/>
                </a:cubicBezTo>
                <a:cubicBezTo>
                  <a:pt x="741" y="254"/>
                  <a:pt x="747" y="254"/>
                  <a:pt x="760" y="248"/>
                </a:cubicBezTo>
                <a:close/>
                <a:moveTo>
                  <a:pt x="848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48" y="229"/>
                  <a:pt x="873" y="229"/>
                </a:cubicBezTo>
                <a:cubicBezTo>
                  <a:pt x="867" y="229"/>
                  <a:pt x="867" y="229"/>
                  <a:pt x="854" y="229"/>
                </a:cubicBezTo>
                <a:cubicBezTo>
                  <a:pt x="848" y="229"/>
                  <a:pt x="848" y="229"/>
                  <a:pt x="848" y="229"/>
                </a:cubicBezTo>
                <a:close/>
                <a:moveTo>
                  <a:pt x="772" y="242"/>
                </a:moveTo>
                <a:cubicBezTo>
                  <a:pt x="772" y="242"/>
                  <a:pt x="772" y="242"/>
                  <a:pt x="766" y="248"/>
                </a:cubicBezTo>
                <a:cubicBezTo>
                  <a:pt x="772" y="242"/>
                  <a:pt x="772" y="242"/>
                  <a:pt x="772" y="242"/>
                </a:cubicBezTo>
                <a:cubicBezTo>
                  <a:pt x="772" y="242"/>
                  <a:pt x="772" y="242"/>
                  <a:pt x="772" y="242"/>
                </a:cubicBezTo>
                <a:close/>
                <a:moveTo>
                  <a:pt x="961" y="216"/>
                </a:moveTo>
                <a:cubicBezTo>
                  <a:pt x="986" y="204"/>
                  <a:pt x="986" y="204"/>
                  <a:pt x="986" y="204"/>
                </a:cubicBezTo>
                <a:cubicBezTo>
                  <a:pt x="961" y="216"/>
                  <a:pt x="936" y="216"/>
                  <a:pt x="904" y="216"/>
                </a:cubicBezTo>
                <a:cubicBezTo>
                  <a:pt x="904" y="216"/>
                  <a:pt x="904" y="216"/>
                  <a:pt x="892" y="223"/>
                </a:cubicBezTo>
                <a:cubicBezTo>
                  <a:pt x="910" y="216"/>
                  <a:pt x="910" y="216"/>
                  <a:pt x="923" y="216"/>
                </a:cubicBezTo>
                <a:cubicBezTo>
                  <a:pt x="923" y="216"/>
                  <a:pt x="923" y="216"/>
                  <a:pt x="961" y="216"/>
                </a:cubicBezTo>
                <a:close/>
                <a:moveTo>
                  <a:pt x="854" y="229"/>
                </a:moveTo>
                <a:cubicBezTo>
                  <a:pt x="848" y="229"/>
                  <a:pt x="848" y="229"/>
                  <a:pt x="848" y="229"/>
                </a:cubicBezTo>
                <a:cubicBezTo>
                  <a:pt x="848" y="229"/>
                  <a:pt x="848" y="229"/>
                  <a:pt x="848" y="229"/>
                </a:cubicBezTo>
                <a:cubicBezTo>
                  <a:pt x="854" y="229"/>
                  <a:pt x="854" y="229"/>
                  <a:pt x="854" y="229"/>
                </a:cubicBezTo>
                <a:close/>
                <a:moveTo>
                  <a:pt x="867" y="229"/>
                </a:moveTo>
                <a:cubicBezTo>
                  <a:pt x="879" y="223"/>
                  <a:pt x="879" y="223"/>
                  <a:pt x="879" y="223"/>
                </a:cubicBezTo>
                <a:cubicBezTo>
                  <a:pt x="867" y="229"/>
                  <a:pt x="873" y="223"/>
                  <a:pt x="867" y="229"/>
                </a:cubicBezTo>
                <a:close/>
                <a:moveTo>
                  <a:pt x="816" y="235"/>
                </a:moveTo>
                <a:cubicBezTo>
                  <a:pt x="816" y="235"/>
                  <a:pt x="816" y="235"/>
                  <a:pt x="829" y="235"/>
                </a:cubicBezTo>
                <a:cubicBezTo>
                  <a:pt x="816" y="235"/>
                  <a:pt x="823" y="235"/>
                  <a:pt x="816" y="235"/>
                </a:cubicBezTo>
                <a:close/>
                <a:moveTo>
                  <a:pt x="923" y="216"/>
                </a:moveTo>
                <a:cubicBezTo>
                  <a:pt x="923" y="216"/>
                  <a:pt x="923" y="216"/>
                  <a:pt x="929" y="216"/>
                </a:cubicBezTo>
                <a:cubicBezTo>
                  <a:pt x="929" y="216"/>
                  <a:pt x="929" y="216"/>
                  <a:pt x="923" y="216"/>
                </a:cubicBezTo>
                <a:close/>
                <a:moveTo>
                  <a:pt x="1017" y="197"/>
                </a:moveTo>
                <a:cubicBezTo>
                  <a:pt x="1017" y="197"/>
                  <a:pt x="1017" y="197"/>
                  <a:pt x="1023" y="197"/>
                </a:cubicBezTo>
                <a:cubicBezTo>
                  <a:pt x="1055" y="197"/>
                  <a:pt x="1055" y="197"/>
                  <a:pt x="1055" y="197"/>
                </a:cubicBezTo>
                <a:cubicBezTo>
                  <a:pt x="1036" y="197"/>
                  <a:pt x="1042" y="197"/>
                  <a:pt x="1017" y="197"/>
                </a:cubicBezTo>
                <a:close/>
                <a:moveTo>
                  <a:pt x="892" y="216"/>
                </a:moveTo>
                <a:cubicBezTo>
                  <a:pt x="904" y="216"/>
                  <a:pt x="904" y="216"/>
                  <a:pt x="910" y="204"/>
                </a:cubicBezTo>
                <a:cubicBezTo>
                  <a:pt x="904" y="216"/>
                  <a:pt x="904" y="216"/>
                  <a:pt x="892" y="216"/>
                </a:cubicBezTo>
                <a:close/>
                <a:moveTo>
                  <a:pt x="546" y="292"/>
                </a:moveTo>
                <a:cubicBezTo>
                  <a:pt x="565" y="292"/>
                  <a:pt x="540" y="299"/>
                  <a:pt x="578" y="286"/>
                </a:cubicBezTo>
                <a:cubicBezTo>
                  <a:pt x="572" y="292"/>
                  <a:pt x="578" y="286"/>
                  <a:pt x="572" y="286"/>
                </a:cubicBezTo>
                <a:cubicBezTo>
                  <a:pt x="584" y="286"/>
                  <a:pt x="584" y="286"/>
                  <a:pt x="603" y="273"/>
                </a:cubicBezTo>
                <a:cubicBezTo>
                  <a:pt x="603" y="273"/>
                  <a:pt x="603" y="273"/>
                  <a:pt x="590" y="280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78" y="286"/>
                  <a:pt x="578" y="286"/>
                  <a:pt x="578" y="286"/>
                </a:cubicBezTo>
                <a:cubicBezTo>
                  <a:pt x="578" y="286"/>
                  <a:pt x="578" y="286"/>
                  <a:pt x="584" y="286"/>
                </a:cubicBezTo>
                <a:cubicBezTo>
                  <a:pt x="584" y="286"/>
                  <a:pt x="584" y="286"/>
                  <a:pt x="584" y="286"/>
                </a:cubicBezTo>
                <a:cubicBezTo>
                  <a:pt x="597" y="280"/>
                  <a:pt x="615" y="273"/>
                  <a:pt x="634" y="267"/>
                </a:cubicBezTo>
                <a:cubicBezTo>
                  <a:pt x="622" y="273"/>
                  <a:pt x="615" y="273"/>
                  <a:pt x="609" y="273"/>
                </a:cubicBezTo>
                <a:cubicBezTo>
                  <a:pt x="609" y="273"/>
                  <a:pt x="609" y="273"/>
                  <a:pt x="609" y="273"/>
                </a:cubicBezTo>
                <a:cubicBezTo>
                  <a:pt x="615" y="273"/>
                  <a:pt x="622" y="267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47" y="261"/>
                  <a:pt x="647" y="261"/>
                  <a:pt x="647" y="261"/>
                </a:cubicBezTo>
                <a:cubicBezTo>
                  <a:pt x="634" y="267"/>
                  <a:pt x="615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603" y="273"/>
                  <a:pt x="603" y="273"/>
                  <a:pt x="603" y="273"/>
                </a:cubicBezTo>
                <a:cubicBezTo>
                  <a:pt x="590" y="280"/>
                  <a:pt x="578" y="286"/>
                  <a:pt x="565" y="286"/>
                </a:cubicBezTo>
                <a:cubicBezTo>
                  <a:pt x="565" y="286"/>
                  <a:pt x="565" y="292"/>
                  <a:pt x="553" y="292"/>
                </a:cubicBezTo>
                <a:cubicBezTo>
                  <a:pt x="553" y="292"/>
                  <a:pt x="553" y="292"/>
                  <a:pt x="546" y="292"/>
                </a:cubicBezTo>
                <a:close/>
                <a:moveTo>
                  <a:pt x="653" y="261"/>
                </a:moveTo>
                <a:cubicBezTo>
                  <a:pt x="647" y="261"/>
                  <a:pt x="647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53" y="261"/>
                </a:moveTo>
                <a:cubicBezTo>
                  <a:pt x="653" y="261"/>
                  <a:pt x="659" y="261"/>
                  <a:pt x="666" y="254"/>
                </a:cubicBezTo>
                <a:cubicBezTo>
                  <a:pt x="666" y="254"/>
                  <a:pt x="666" y="254"/>
                  <a:pt x="666" y="254"/>
                </a:cubicBezTo>
                <a:cubicBezTo>
                  <a:pt x="672" y="254"/>
                  <a:pt x="672" y="254"/>
                  <a:pt x="666" y="254"/>
                </a:cubicBezTo>
                <a:cubicBezTo>
                  <a:pt x="666" y="254"/>
                  <a:pt x="666" y="254"/>
                  <a:pt x="659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47" y="261"/>
                </a:cubicBezTo>
                <a:cubicBezTo>
                  <a:pt x="653" y="261"/>
                  <a:pt x="653" y="261"/>
                  <a:pt x="653" y="261"/>
                </a:cubicBezTo>
                <a:cubicBezTo>
                  <a:pt x="653" y="261"/>
                  <a:pt x="653" y="261"/>
                  <a:pt x="653" y="261"/>
                </a:cubicBezTo>
                <a:close/>
                <a:moveTo>
                  <a:pt x="622" y="267"/>
                </a:moveTo>
                <a:cubicBezTo>
                  <a:pt x="615" y="267"/>
                  <a:pt x="615" y="267"/>
                  <a:pt x="615" y="267"/>
                </a:cubicBezTo>
                <a:cubicBezTo>
                  <a:pt x="628" y="267"/>
                  <a:pt x="628" y="267"/>
                  <a:pt x="628" y="267"/>
                </a:cubicBezTo>
                <a:cubicBezTo>
                  <a:pt x="622" y="267"/>
                  <a:pt x="622" y="267"/>
                  <a:pt x="622" y="267"/>
                </a:cubicBezTo>
                <a:close/>
                <a:moveTo>
                  <a:pt x="603" y="273"/>
                </a:moveTo>
                <a:cubicBezTo>
                  <a:pt x="609" y="273"/>
                  <a:pt x="609" y="273"/>
                  <a:pt x="609" y="273"/>
                </a:cubicBezTo>
                <a:cubicBezTo>
                  <a:pt x="603" y="273"/>
                  <a:pt x="603" y="273"/>
                  <a:pt x="603" y="273"/>
                </a:cubicBezTo>
                <a:close/>
                <a:moveTo>
                  <a:pt x="251" y="458"/>
                </a:move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1" y="458"/>
                  <a:pt x="251" y="458"/>
                  <a:pt x="251" y="458"/>
                </a:cubicBezTo>
                <a:close/>
                <a:moveTo>
                  <a:pt x="1369" y="1029"/>
                </a:moveTo>
                <a:cubicBezTo>
                  <a:pt x="1350" y="1035"/>
                  <a:pt x="1350" y="1035"/>
                  <a:pt x="1350" y="1035"/>
                </a:cubicBezTo>
                <a:cubicBezTo>
                  <a:pt x="1362" y="1029"/>
                  <a:pt x="1350" y="1035"/>
                  <a:pt x="1369" y="1029"/>
                </a:cubicBezTo>
                <a:close/>
                <a:moveTo>
                  <a:pt x="1274" y="1067"/>
                </a:moveTo>
                <a:cubicBezTo>
                  <a:pt x="1268" y="1067"/>
                  <a:pt x="1256" y="1067"/>
                  <a:pt x="1249" y="1073"/>
                </a:cubicBezTo>
                <a:cubicBezTo>
                  <a:pt x="1256" y="1067"/>
                  <a:pt x="1262" y="1067"/>
                  <a:pt x="1274" y="1067"/>
                </a:cubicBezTo>
                <a:close/>
                <a:moveTo>
                  <a:pt x="1525" y="115"/>
                </a:moveTo>
                <a:cubicBezTo>
                  <a:pt x="1525" y="115"/>
                  <a:pt x="1525" y="115"/>
                  <a:pt x="1532" y="115"/>
                </a:cubicBezTo>
                <a:cubicBezTo>
                  <a:pt x="1525" y="115"/>
                  <a:pt x="1532" y="115"/>
                  <a:pt x="1525" y="115"/>
                </a:cubicBezTo>
                <a:close/>
                <a:moveTo>
                  <a:pt x="1532" y="115"/>
                </a:moveTo>
                <a:cubicBezTo>
                  <a:pt x="1532" y="115"/>
                  <a:pt x="1532" y="115"/>
                  <a:pt x="1538" y="121"/>
                </a:cubicBezTo>
                <a:cubicBezTo>
                  <a:pt x="1532" y="115"/>
                  <a:pt x="1532" y="115"/>
                  <a:pt x="1532" y="115"/>
                </a:cubicBezTo>
                <a:close/>
                <a:moveTo>
                  <a:pt x="333" y="394"/>
                </a:moveTo>
                <a:cubicBezTo>
                  <a:pt x="321" y="400"/>
                  <a:pt x="321" y="400"/>
                  <a:pt x="321" y="400"/>
                </a:cubicBezTo>
                <a:cubicBezTo>
                  <a:pt x="333" y="400"/>
                  <a:pt x="321" y="400"/>
                  <a:pt x="333" y="394"/>
                </a:cubicBezTo>
                <a:close/>
                <a:moveTo>
                  <a:pt x="1337" y="1042"/>
                </a:moveTo>
                <a:cubicBezTo>
                  <a:pt x="1337" y="1042"/>
                  <a:pt x="1337" y="1042"/>
                  <a:pt x="1331" y="1042"/>
                </a:cubicBezTo>
                <a:cubicBezTo>
                  <a:pt x="1337" y="1042"/>
                  <a:pt x="1337" y="1042"/>
                  <a:pt x="1337" y="1042"/>
                </a:cubicBezTo>
                <a:close/>
                <a:moveTo>
                  <a:pt x="1362" y="1035"/>
                </a:moveTo>
                <a:cubicBezTo>
                  <a:pt x="1387" y="1022"/>
                  <a:pt x="1387" y="1022"/>
                  <a:pt x="1387" y="1022"/>
                </a:cubicBezTo>
                <a:cubicBezTo>
                  <a:pt x="1369" y="1029"/>
                  <a:pt x="1369" y="1029"/>
                  <a:pt x="1369" y="1029"/>
                </a:cubicBezTo>
                <a:cubicBezTo>
                  <a:pt x="1350" y="1035"/>
                  <a:pt x="1350" y="1035"/>
                  <a:pt x="1350" y="1035"/>
                </a:cubicBezTo>
                <a:cubicBezTo>
                  <a:pt x="1350" y="1035"/>
                  <a:pt x="1337" y="1035"/>
                  <a:pt x="1337" y="1042"/>
                </a:cubicBezTo>
                <a:cubicBezTo>
                  <a:pt x="1356" y="1035"/>
                  <a:pt x="1337" y="1042"/>
                  <a:pt x="1362" y="1035"/>
                </a:cubicBezTo>
                <a:close/>
                <a:moveTo>
                  <a:pt x="38" y="699"/>
                </a:moveTo>
                <a:cubicBezTo>
                  <a:pt x="38" y="686"/>
                  <a:pt x="44" y="686"/>
                  <a:pt x="44" y="686"/>
                </a:cubicBezTo>
                <a:cubicBezTo>
                  <a:pt x="38" y="686"/>
                  <a:pt x="38" y="692"/>
                  <a:pt x="38" y="699"/>
                </a:cubicBezTo>
                <a:close/>
                <a:moveTo>
                  <a:pt x="44" y="680"/>
                </a:moveTo>
                <a:cubicBezTo>
                  <a:pt x="44" y="680"/>
                  <a:pt x="44" y="680"/>
                  <a:pt x="44" y="686"/>
                </a:cubicBezTo>
                <a:cubicBezTo>
                  <a:pt x="44" y="680"/>
                  <a:pt x="44" y="680"/>
                  <a:pt x="44" y="680"/>
                </a:cubicBezTo>
                <a:cubicBezTo>
                  <a:pt x="44" y="680"/>
                  <a:pt x="44" y="680"/>
                  <a:pt x="44" y="680"/>
                </a:cubicBezTo>
                <a:close/>
                <a:moveTo>
                  <a:pt x="51" y="673"/>
                </a:move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73"/>
                </a:cubicBezTo>
                <a:close/>
                <a:moveTo>
                  <a:pt x="44" y="680"/>
                </a:moveTo>
                <a:cubicBezTo>
                  <a:pt x="44" y="680"/>
                  <a:pt x="44" y="673"/>
                  <a:pt x="51" y="673"/>
                </a:cubicBezTo>
                <a:cubicBezTo>
                  <a:pt x="51" y="673"/>
                  <a:pt x="44" y="673"/>
                  <a:pt x="44" y="680"/>
                </a:cubicBezTo>
                <a:close/>
                <a:moveTo>
                  <a:pt x="1701" y="775"/>
                </a:moveTo>
                <a:cubicBezTo>
                  <a:pt x="1695" y="781"/>
                  <a:pt x="1695" y="788"/>
                  <a:pt x="1689" y="794"/>
                </a:cubicBezTo>
                <a:cubicBezTo>
                  <a:pt x="1689" y="794"/>
                  <a:pt x="1689" y="794"/>
                  <a:pt x="1689" y="794"/>
                </a:cubicBezTo>
                <a:cubicBezTo>
                  <a:pt x="1689" y="794"/>
                  <a:pt x="1689" y="794"/>
                  <a:pt x="1701" y="775"/>
                </a:cubicBezTo>
                <a:close/>
                <a:moveTo>
                  <a:pt x="1456" y="984"/>
                </a:move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ubicBezTo>
                  <a:pt x="1456" y="984"/>
                  <a:pt x="1456" y="984"/>
                  <a:pt x="1456" y="984"/>
                </a:cubicBezTo>
                <a:close/>
                <a:moveTo>
                  <a:pt x="622" y="70"/>
                </a:moveTo>
                <a:cubicBezTo>
                  <a:pt x="634" y="70"/>
                  <a:pt x="641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34" y="64"/>
                  <a:pt x="628" y="70"/>
                  <a:pt x="622" y="70"/>
                </a:cubicBezTo>
                <a:close/>
                <a:moveTo>
                  <a:pt x="854" y="26"/>
                </a:moveTo>
                <a:cubicBezTo>
                  <a:pt x="854" y="26"/>
                  <a:pt x="860" y="26"/>
                  <a:pt x="860" y="20"/>
                </a:cubicBezTo>
                <a:cubicBezTo>
                  <a:pt x="854" y="26"/>
                  <a:pt x="854" y="26"/>
                  <a:pt x="848" y="26"/>
                </a:cubicBezTo>
                <a:cubicBezTo>
                  <a:pt x="848" y="26"/>
                  <a:pt x="848" y="26"/>
                  <a:pt x="854" y="26"/>
                </a:cubicBezTo>
                <a:close/>
                <a:moveTo>
                  <a:pt x="1463" y="940"/>
                </a:moveTo>
                <a:cubicBezTo>
                  <a:pt x="1469" y="940"/>
                  <a:pt x="1469" y="940"/>
                  <a:pt x="1469" y="940"/>
                </a:cubicBezTo>
                <a:cubicBezTo>
                  <a:pt x="1463" y="940"/>
                  <a:pt x="1463" y="940"/>
                  <a:pt x="1463" y="940"/>
                </a:cubicBezTo>
                <a:close/>
                <a:moveTo>
                  <a:pt x="120" y="972"/>
                </a:moveTo>
                <a:cubicBezTo>
                  <a:pt x="120" y="972"/>
                  <a:pt x="120" y="972"/>
                  <a:pt x="120" y="972"/>
                </a:cubicBezTo>
                <a:cubicBezTo>
                  <a:pt x="120" y="972"/>
                  <a:pt x="120" y="972"/>
                  <a:pt x="120" y="972"/>
                </a:cubicBezTo>
                <a:close/>
                <a:moveTo>
                  <a:pt x="653" y="273"/>
                </a:moveTo>
                <a:cubicBezTo>
                  <a:pt x="659" y="273"/>
                  <a:pt x="659" y="273"/>
                  <a:pt x="659" y="273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53" y="273"/>
                  <a:pt x="653" y="273"/>
                  <a:pt x="653" y="273"/>
                </a:cubicBezTo>
                <a:close/>
                <a:moveTo>
                  <a:pt x="666" y="267"/>
                </a:moveTo>
                <a:cubicBezTo>
                  <a:pt x="666" y="267"/>
                  <a:pt x="666" y="267"/>
                  <a:pt x="659" y="267"/>
                </a:cubicBezTo>
                <a:cubicBezTo>
                  <a:pt x="659" y="273"/>
                  <a:pt x="659" y="273"/>
                  <a:pt x="659" y="273"/>
                </a:cubicBezTo>
                <a:cubicBezTo>
                  <a:pt x="666" y="267"/>
                  <a:pt x="666" y="267"/>
                  <a:pt x="666" y="267"/>
                </a:cubicBezTo>
                <a:close/>
                <a:moveTo>
                  <a:pt x="44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ubicBezTo>
                  <a:pt x="44" y="953"/>
                  <a:pt x="44" y="953"/>
                  <a:pt x="44" y="953"/>
                </a:cubicBezTo>
                <a:close/>
                <a:moveTo>
                  <a:pt x="1776" y="534"/>
                </a:moveTo>
                <a:cubicBezTo>
                  <a:pt x="1776" y="534"/>
                  <a:pt x="1776" y="534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27"/>
                  <a:pt x="1776" y="527"/>
                  <a:pt x="1776" y="527"/>
                </a:cubicBezTo>
                <a:cubicBezTo>
                  <a:pt x="1776" y="534"/>
                  <a:pt x="1776" y="534"/>
                  <a:pt x="1776" y="534"/>
                </a:cubicBezTo>
                <a:cubicBezTo>
                  <a:pt x="1776" y="534"/>
                  <a:pt x="1776" y="534"/>
                  <a:pt x="1776" y="540"/>
                </a:cubicBezTo>
                <a:cubicBezTo>
                  <a:pt x="1776" y="540"/>
                  <a:pt x="1776" y="540"/>
                  <a:pt x="1776" y="540"/>
                </a:cubicBezTo>
                <a:cubicBezTo>
                  <a:pt x="1776" y="540"/>
                  <a:pt x="1776" y="534"/>
                  <a:pt x="1776" y="527"/>
                </a:cubicBezTo>
                <a:cubicBezTo>
                  <a:pt x="1776" y="515"/>
                  <a:pt x="1776" y="515"/>
                  <a:pt x="1776" y="515"/>
                </a:cubicBezTo>
                <a:cubicBezTo>
                  <a:pt x="1776" y="534"/>
                  <a:pt x="1776" y="546"/>
                  <a:pt x="1770" y="559"/>
                </a:cubicBezTo>
                <a:cubicBezTo>
                  <a:pt x="1770" y="559"/>
                  <a:pt x="1770" y="559"/>
                  <a:pt x="1770" y="540"/>
                </a:cubicBezTo>
                <a:cubicBezTo>
                  <a:pt x="1776" y="508"/>
                  <a:pt x="1770" y="477"/>
                  <a:pt x="1770" y="445"/>
                </a:cubicBezTo>
                <a:cubicBezTo>
                  <a:pt x="1770" y="445"/>
                  <a:pt x="1770" y="438"/>
                  <a:pt x="1770" y="432"/>
                </a:cubicBezTo>
                <a:cubicBezTo>
                  <a:pt x="1770" y="438"/>
                  <a:pt x="1770" y="438"/>
                  <a:pt x="1770" y="438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70" y="432"/>
                  <a:pt x="1770" y="419"/>
                  <a:pt x="1770" y="432"/>
                </a:cubicBezTo>
                <a:cubicBezTo>
                  <a:pt x="1770" y="432"/>
                  <a:pt x="1770" y="426"/>
                  <a:pt x="1770" y="419"/>
                </a:cubicBezTo>
                <a:cubicBezTo>
                  <a:pt x="1764" y="419"/>
                  <a:pt x="1764" y="407"/>
                  <a:pt x="1764" y="400"/>
                </a:cubicBezTo>
                <a:cubicBezTo>
                  <a:pt x="1764" y="388"/>
                  <a:pt x="1764" y="388"/>
                  <a:pt x="1764" y="388"/>
                </a:cubicBezTo>
                <a:cubicBezTo>
                  <a:pt x="1758" y="381"/>
                  <a:pt x="1758" y="375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8" y="369"/>
                  <a:pt x="1758" y="369"/>
                  <a:pt x="1758" y="369"/>
                </a:cubicBezTo>
                <a:cubicBezTo>
                  <a:pt x="1758" y="369"/>
                  <a:pt x="1758" y="369"/>
                  <a:pt x="1758" y="362"/>
                </a:cubicBezTo>
                <a:cubicBezTo>
                  <a:pt x="1751" y="362"/>
                  <a:pt x="1751" y="356"/>
                  <a:pt x="1751" y="356"/>
                </a:cubicBezTo>
                <a:cubicBezTo>
                  <a:pt x="1751" y="356"/>
                  <a:pt x="1751" y="362"/>
                  <a:pt x="1758" y="362"/>
                </a:cubicBezTo>
                <a:cubicBezTo>
                  <a:pt x="1751" y="356"/>
                  <a:pt x="1751" y="356"/>
                  <a:pt x="1751" y="356"/>
                </a:cubicBezTo>
                <a:cubicBezTo>
                  <a:pt x="1751" y="350"/>
                  <a:pt x="1751" y="350"/>
                  <a:pt x="1745" y="343"/>
                </a:cubicBezTo>
                <a:cubicBezTo>
                  <a:pt x="1745" y="343"/>
                  <a:pt x="1745" y="343"/>
                  <a:pt x="1745" y="343"/>
                </a:cubicBezTo>
                <a:cubicBezTo>
                  <a:pt x="1745" y="337"/>
                  <a:pt x="1745" y="331"/>
                  <a:pt x="1745" y="331"/>
                </a:cubicBezTo>
                <a:cubicBezTo>
                  <a:pt x="1745" y="331"/>
                  <a:pt x="1745" y="331"/>
                  <a:pt x="1745" y="331"/>
                </a:cubicBezTo>
                <a:cubicBezTo>
                  <a:pt x="1739" y="331"/>
                  <a:pt x="1739" y="324"/>
                  <a:pt x="1739" y="318"/>
                </a:cubicBezTo>
                <a:cubicBezTo>
                  <a:pt x="1739" y="324"/>
                  <a:pt x="1739" y="324"/>
                  <a:pt x="1739" y="324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9"/>
                  <a:pt x="1726" y="292"/>
                </a:cubicBezTo>
                <a:cubicBezTo>
                  <a:pt x="1726" y="299"/>
                  <a:pt x="1733" y="318"/>
                  <a:pt x="1739" y="324"/>
                </a:cubicBezTo>
                <a:cubicBezTo>
                  <a:pt x="1733" y="318"/>
                  <a:pt x="1733" y="299"/>
                  <a:pt x="1726" y="292"/>
                </a:cubicBezTo>
                <a:cubicBezTo>
                  <a:pt x="1739" y="324"/>
                  <a:pt x="1733" y="299"/>
                  <a:pt x="1745" y="337"/>
                </a:cubicBezTo>
                <a:cubicBezTo>
                  <a:pt x="1745" y="337"/>
                  <a:pt x="1745" y="337"/>
                  <a:pt x="1751" y="362"/>
                </a:cubicBezTo>
                <a:cubicBezTo>
                  <a:pt x="1751" y="369"/>
                  <a:pt x="1751" y="369"/>
                  <a:pt x="1751" y="369"/>
                </a:cubicBezTo>
                <a:cubicBezTo>
                  <a:pt x="1751" y="369"/>
                  <a:pt x="1758" y="369"/>
                  <a:pt x="1758" y="375"/>
                </a:cubicBezTo>
                <a:cubicBezTo>
                  <a:pt x="1751" y="356"/>
                  <a:pt x="1745" y="337"/>
                  <a:pt x="1733" y="318"/>
                </a:cubicBezTo>
                <a:cubicBezTo>
                  <a:pt x="1733" y="318"/>
                  <a:pt x="1733" y="318"/>
                  <a:pt x="1733" y="318"/>
                </a:cubicBezTo>
                <a:cubicBezTo>
                  <a:pt x="1733" y="305"/>
                  <a:pt x="1726" y="299"/>
                  <a:pt x="1726" y="299"/>
                </a:cubicBezTo>
                <a:cubicBezTo>
                  <a:pt x="1726" y="299"/>
                  <a:pt x="1726" y="299"/>
                  <a:pt x="1726" y="299"/>
                </a:cubicBezTo>
                <a:cubicBezTo>
                  <a:pt x="1726" y="299"/>
                  <a:pt x="1726" y="292"/>
                  <a:pt x="1720" y="292"/>
                </a:cubicBezTo>
                <a:cubicBezTo>
                  <a:pt x="1726" y="292"/>
                  <a:pt x="1726" y="299"/>
                  <a:pt x="1726" y="299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6" y="292"/>
                  <a:pt x="1726" y="292"/>
                  <a:pt x="1726" y="292"/>
                </a:cubicBezTo>
                <a:cubicBezTo>
                  <a:pt x="1720" y="292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20" y="286"/>
                  <a:pt x="1720" y="286"/>
                  <a:pt x="1720" y="286"/>
                </a:cubicBezTo>
                <a:cubicBezTo>
                  <a:pt x="1701" y="261"/>
                  <a:pt x="1689" y="235"/>
                  <a:pt x="1670" y="223"/>
                </a:cubicBezTo>
                <a:cubicBezTo>
                  <a:pt x="1657" y="204"/>
                  <a:pt x="1664" y="216"/>
                  <a:pt x="1645" y="191"/>
                </a:cubicBezTo>
                <a:cubicBezTo>
                  <a:pt x="1651" y="197"/>
                  <a:pt x="1657" y="204"/>
                  <a:pt x="1664" y="216"/>
                </a:cubicBezTo>
                <a:cubicBezTo>
                  <a:pt x="1664" y="216"/>
                  <a:pt x="1664" y="216"/>
                  <a:pt x="1664" y="216"/>
                </a:cubicBezTo>
                <a:cubicBezTo>
                  <a:pt x="1657" y="204"/>
                  <a:pt x="1645" y="191"/>
                  <a:pt x="1638" y="185"/>
                </a:cubicBezTo>
                <a:cubicBezTo>
                  <a:pt x="1638" y="185"/>
                  <a:pt x="1638" y="185"/>
                  <a:pt x="1632" y="178"/>
                </a:cubicBezTo>
                <a:cubicBezTo>
                  <a:pt x="1626" y="178"/>
                  <a:pt x="1626" y="178"/>
                  <a:pt x="1626" y="178"/>
                </a:cubicBezTo>
                <a:cubicBezTo>
                  <a:pt x="1620" y="172"/>
                  <a:pt x="1620" y="172"/>
                  <a:pt x="1626" y="172"/>
                </a:cubicBezTo>
                <a:cubicBezTo>
                  <a:pt x="1626" y="172"/>
                  <a:pt x="1626" y="172"/>
                  <a:pt x="1613" y="166"/>
                </a:cubicBezTo>
                <a:cubicBezTo>
                  <a:pt x="1613" y="166"/>
                  <a:pt x="1613" y="166"/>
                  <a:pt x="1601" y="153"/>
                </a:cubicBezTo>
                <a:cubicBezTo>
                  <a:pt x="1601" y="153"/>
                  <a:pt x="1601" y="153"/>
                  <a:pt x="1594" y="153"/>
                </a:cubicBezTo>
                <a:cubicBezTo>
                  <a:pt x="1601" y="153"/>
                  <a:pt x="1601" y="153"/>
                  <a:pt x="1607" y="159"/>
                </a:cubicBezTo>
                <a:cubicBezTo>
                  <a:pt x="1588" y="146"/>
                  <a:pt x="1601" y="159"/>
                  <a:pt x="1594" y="153"/>
                </a:cubicBezTo>
                <a:cubicBezTo>
                  <a:pt x="1588" y="146"/>
                  <a:pt x="1582" y="140"/>
                  <a:pt x="1576" y="140"/>
                </a:cubicBezTo>
                <a:cubicBezTo>
                  <a:pt x="1576" y="140"/>
                  <a:pt x="1576" y="140"/>
                  <a:pt x="1563" y="134"/>
                </a:cubicBezTo>
                <a:cubicBezTo>
                  <a:pt x="1538" y="121"/>
                  <a:pt x="1551" y="127"/>
                  <a:pt x="1538" y="121"/>
                </a:cubicBezTo>
                <a:cubicBezTo>
                  <a:pt x="1538" y="121"/>
                  <a:pt x="1538" y="121"/>
                  <a:pt x="1525" y="115"/>
                </a:cubicBezTo>
                <a:cubicBezTo>
                  <a:pt x="1525" y="115"/>
                  <a:pt x="1525" y="115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32" y="115"/>
                  <a:pt x="1532" y="121"/>
                  <a:pt x="1538" y="121"/>
                </a:cubicBezTo>
                <a:cubicBezTo>
                  <a:pt x="1532" y="121"/>
                  <a:pt x="1532" y="121"/>
                  <a:pt x="1532" y="115"/>
                </a:cubicBezTo>
                <a:cubicBezTo>
                  <a:pt x="1532" y="115"/>
                  <a:pt x="1532" y="115"/>
                  <a:pt x="1532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25" y="115"/>
                  <a:pt x="1525" y="115"/>
                  <a:pt x="1525" y="115"/>
                </a:cubicBezTo>
                <a:cubicBezTo>
                  <a:pt x="1551" y="127"/>
                  <a:pt x="1544" y="121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7" y="134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51" y="127"/>
                </a:cubicBezTo>
                <a:cubicBezTo>
                  <a:pt x="1551" y="127"/>
                  <a:pt x="1551" y="127"/>
                  <a:pt x="1544" y="127"/>
                </a:cubicBezTo>
                <a:cubicBezTo>
                  <a:pt x="1544" y="127"/>
                  <a:pt x="1544" y="127"/>
                  <a:pt x="1507" y="102"/>
                </a:cubicBezTo>
                <a:cubicBezTo>
                  <a:pt x="1513" y="102"/>
                  <a:pt x="1519" y="115"/>
                  <a:pt x="1513" y="102"/>
                </a:cubicBezTo>
                <a:cubicBezTo>
                  <a:pt x="1513" y="102"/>
                  <a:pt x="1513" y="102"/>
                  <a:pt x="1519" y="102"/>
                </a:cubicBezTo>
                <a:cubicBezTo>
                  <a:pt x="1507" y="102"/>
                  <a:pt x="1500" y="96"/>
                  <a:pt x="1488" y="89"/>
                </a:cubicBezTo>
                <a:cubicBezTo>
                  <a:pt x="1494" y="89"/>
                  <a:pt x="1488" y="89"/>
                  <a:pt x="1507" y="96"/>
                </a:cubicBezTo>
                <a:cubicBezTo>
                  <a:pt x="1469" y="77"/>
                  <a:pt x="1419" y="64"/>
                  <a:pt x="1419" y="64"/>
                </a:cubicBezTo>
                <a:cubicBezTo>
                  <a:pt x="1406" y="58"/>
                  <a:pt x="1419" y="64"/>
                  <a:pt x="1400" y="58"/>
                </a:cubicBezTo>
                <a:cubicBezTo>
                  <a:pt x="1394" y="51"/>
                  <a:pt x="1387" y="51"/>
                  <a:pt x="1381" y="51"/>
                </a:cubicBezTo>
                <a:cubicBezTo>
                  <a:pt x="1337" y="39"/>
                  <a:pt x="1300" y="32"/>
                  <a:pt x="1281" y="32"/>
                </a:cubicBezTo>
                <a:cubicBezTo>
                  <a:pt x="1281" y="32"/>
                  <a:pt x="1281" y="32"/>
                  <a:pt x="1281" y="32"/>
                </a:cubicBezTo>
                <a:cubicBezTo>
                  <a:pt x="1300" y="32"/>
                  <a:pt x="1306" y="32"/>
                  <a:pt x="1337" y="45"/>
                </a:cubicBezTo>
                <a:cubicBezTo>
                  <a:pt x="1337" y="45"/>
                  <a:pt x="1337" y="45"/>
                  <a:pt x="1325" y="39"/>
                </a:cubicBezTo>
                <a:cubicBezTo>
                  <a:pt x="1293" y="32"/>
                  <a:pt x="1256" y="26"/>
                  <a:pt x="1218" y="20"/>
                </a:cubicBezTo>
                <a:cubicBezTo>
                  <a:pt x="1199" y="20"/>
                  <a:pt x="1174" y="20"/>
                  <a:pt x="1155" y="7"/>
                </a:cubicBezTo>
                <a:cubicBezTo>
                  <a:pt x="1105" y="7"/>
                  <a:pt x="1105" y="7"/>
                  <a:pt x="1136" y="20"/>
                </a:cubicBezTo>
                <a:cubicBezTo>
                  <a:pt x="1143" y="20"/>
                  <a:pt x="1143" y="20"/>
                  <a:pt x="1143" y="20"/>
                </a:cubicBezTo>
                <a:cubicBezTo>
                  <a:pt x="1055" y="7"/>
                  <a:pt x="961" y="7"/>
                  <a:pt x="860" y="20"/>
                </a:cubicBezTo>
                <a:cubicBezTo>
                  <a:pt x="867" y="20"/>
                  <a:pt x="835" y="26"/>
                  <a:pt x="823" y="26"/>
                </a:cubicBezTo>
                <a:cubicBezTo>
                  <a:pt x="867" y="26"/>
                  <a:pt x="904" y="20"/>
                  <a:pt x="979" y="20"/>
                </a:cubicBezTo>
                <a:cubicBezTo>
                  <a:pt x="1011" y="7"/>
                  <a:pt x="1011" y="20"/>
                  <a:pt x="1011" y="20"/>
                </a:cubicBezTo>
                <a:cubicBezTo>
                  <a:pt x="1023" y="20"/>
                  <a:pt x="1030" y="20"/>
                  <a:pt x="1042" y="20"/>
                </a:cubicBezTo>
                <a:cubicBezTo>
                  <a:pt x="936" y="20"/>
                  <a:pt x="829" y="26"/>
                  <a:pt x="722" y="45"/>
                </a:cubicBezTo>
                <a:cubicBezTo>
                  <a:pt x="728" y="45"/>
                  <a:pt x="741" y="45"/>
                  <a:pt x="754" y="39"/>
                </a:cubicBezTo>
                <a:cubicBezTo>
                  <a:pt x="735" y="45"/>
                  <a:pt x="716" y="45"/>
                  <a:pt x="666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59" y="58"/>
                  <a:pt x="659" y="58"/>
                  <a:pt x="653" y="58"/>
                </a:cubicBezTo>
                <a:cubicBezTo>
                  <a:pt x="659" y="58"/>
                  <a:pt x="659" y="58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3" y="64"/>
                </a:cubicBezTo>
                <a:cubicBezTo>
                  <a:pt x="647" y="64"/>
                  <a:pt x="647" y="64"/>
                  <a:pt x="647" y="64"/>
                </a:cubicBezTo>
                <a:cubicBezTo>
                  <a:pt x="647" y="64"/>
                  <a:pt x="647" y="64"/>
                  <a:pt x="659" y="64"/>
                </a:cubicBezTo>
                <a:cubicBezTo>
                  <a:pt x="659" y="64"/>
                  <a:pt x="659" y="64"/>
                  <a:pt x="666" y="64"/>
                </a:cubicBezTo>
                <a:cubicBezTo>
                  <a:pt x="685" y="58"/>
                  <a:pt x="672" y="58"/>
                  <a:pt x="697" y="58"/>
                </a:cubicBezTo>
                <a:cubicBezTo>
                  <a:pt x="697" y="51"/>
                  <a:pt x="697" y="51"/>
                  <a:pt x="697" y="51"/>
                </a:cubicBezTo>
                <a:cubicBezTo>
                  <a:pt x="697" y="58"/>
                  <a:pt x="691" y="58"/>
                  <a:pt x="691" y="58"/>
                </a:cubicBezTo>
                <a:cubicBezTo>
                  <a:pt x="691" y="58"/>
                  <a:pt x="691" y="58"/>
                  <a:pt x="691" y="58"/>
                </a:cubicBezTo>
                <a:cubicBezTo>
                  <a:pt x="691" y="58"/>
                  <a:pt x="685" y="58"/>
                  <a:pt x="672" y="58"/>
                </a:cubicBezTo>
                <a:cubicBezTo>
                  <a:pt x="666" y="58"/>
                  <a:pt x="666" y="58"/>
                  <a:pt x="659" y="58"/>
                </a:cubicBezTo>
                <a:cubicBezTo>
                  <a:pt x="691" y="51"/>
                  <a:pt x="722" y="45"/>
                  <a:pt x="754" y="39"/>
                </a:cubicBezTo>
                <a:cubicBezTo>
                  <a:pt x="754" y="39"/>
                  <a:pt x="754" y="39"/>
                  <a:pt x="754" y="45"/>
                </a:cubicBezTo>
                <a:cubicBezTo>
                  <a:pt x="754" y="39"/>
                  <a:pt x="760" y="39"/>
                  <a:pt x="760" y="39"/>
                </a:cubicBezTo>
                <a:cubicBezTo>
                  <a:pt x="760" y="39"/>
                  <a:pt x="760" y="39"/>
                  <a:pt x="754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66" y="39"/>
                  <a:pt x="766" y="39"/>
                  <a:pt x="766" y="39"/>
                </a:cubicBezTo>
                <a:cubicBezTo>
                  <a:pt x="772" y="39"/>
                  <a:pt x="779" y="39"/>
                  <a:pt x="791" y="39"/>
                </a:cubicBezTo>
                <a:cubicBezTo>
                  <a:pt x="779" y="39"/>
                  <a:pt x="779" y="39"/>
                  <a:pt x="779" y="39"/>
                </a:cubicBezTo>
                <a:cubicBezTo>
                  <a:pt x="816" y="32"/>
                  <a:pt x="848" y="32"/>
                  <a:pt x="873" y="26"/>
                </a:cubicBezTo>
                <a:cubicBezTo>
                  <a:pt x="873" y="26"/>
                  <a:pt x="873" y="26"/>
                  <a:pt x="873" y="26"/>
                </a:cubicBezTo>
                <a:cubicBezTo>
                  <a:pt x="873" y="26"/>
                  <a:pt x="873" y="26"/>
                  <a:pt x="879" y="26"/>
                </a:cubicBezTo>
                <a:cubicBezTo>
                  <a:pt x="892" y="26"/>
                  <a:pt x="904" y="26"/>
                  <a:pt x="917" y="26"/>
                </a:cubicBezTo>
                <a:cubicBezTo>
                  <a:pt x="923" y="26"/>
                  <a:pt x="923" y="26"/>
                  <a:pt x="923" y="26"/>
                </a:cubicBezTo>
                <a:cubicBezTo>
                  <a:pt x="923" y="26"/>
                  <a:pt x="923" y="26"/>
                  <a:pt x="917" y="26"/>
                </a:cubicBezTo>
                <a:cubicBezTo>
                  <a:pt x="904" y="26"/>
                  <a:pt x="892" y="26"/>
                  <a:pt x="879" y="26"/>
                </a:cubicBezTo>
                <a:cubicBezTo>
                  <a:pt x="885" y="26"/>
                  <a:pt x="885" y="26"/>
                  <a:pt x="892" y="26"/>
                </a:cubicBezTo>
                <a:cubicBezTo>
                  <a:pt x="892" y="26"/>
                  <a:pt x="892" y="26"/>
                  <a:pt x="885" y="26"/>
                </a:cubicBezTo>
                <a:cubicBezTo>
                  <a:pt x="892" y="26"/>
                  <a:pt x="904" y="26"/>
                  <a:pt x="910" y="26"/>
                </a:cubicBezTo>
                <a:cubicBezTo>
                  <a:pt x="904" y="26"/>
                  <a:pt x="917" y="26"/>
                  <a:pt x="929" y="26"/>
                </a:cubicBezTo>
                <a:cubicBezTo>
                  <a:pt x="910" y="26"/>
                  <a:pt x="885" y="26"/>
                  <a:pt x="867" y="32"/>
                </a:cubicBezTo>
                <a:cubicBezTo>
                  <a:pt x="867" y="32"/>
                  <a:pt x="867" y="32"/>
                  <a:pt x="867" y="32"/>
                </a:cubicBezTo>
                <a:cubicBezTo>
                  <a:pt x="841" y="32"/>
                  <a:pt x="804" y="39"/>
                  <a:pt x="760" y="45"/>
                </a:cubicBezTo>
                <a:cubicBezTo>
                  <a:pt x="816" y="39"/>
                  <a:pt x="860" y="32"/>
                  <a:pt x="917" y="26"/>
                </a:cubicBezTo>
                <a:cubicBezTo>
                  <a:pt x="942" y="26"/>
                  <a:pt x="936" y="26"/>
                  <a:pt x="936" y="26"/>
                </a:cubicBezTo>
                <a:cubicBezTo>
                  <a:pt x="936" y="26"/>
                  <a:pt x="936" y="26"/>
                  <a:pt x="954" y="26"/>
                </a:cubicBezTo>
                <a:cubicBezTo>
                  <a:pt x="986" y="26"/>
                  <a:pt x="986" y="26"/>
                  <a:pt x="1023" y="26"/>
                </a:cubicBezTo>
                <a:cubicBezTo>
                  <a:pt x="1023" y="26"/>
                  <a:pt x="1023" y="26"/>
                  <a:pt x="1023" y="20"/>
                </a:cubicBezTo>
                <a:cubicBezTo>
                  <a:pt x="998" y="20"/>
                  <a:pt x="979" y="26"/>
                  <a:pt x="961" y="26"/>
                </a:cubicBezTo>
                <a:cubicBezTo>
                  <a:pt x="1011" y="20"/>
                  <a:pt x="1023" y="20"/>
                  <a:pt x="1023" y="20"/>
                </a:cubicBezTo>
                <a:cubicBezTo>
                  <a:pt x="1036" y="20"/>
                  <a:pt x="1092" y="20"/>
                  <a:pt x="1155" y="26"/>
                </a:cubicBezTo>
                <a:cubicBezTo>
                  <a:pt x="1092" y="26"/>
                  <a:pt x="1118" y="26"/>
                  <a:pt x="1111" y="26"/>
                </a:cubicBezTo>
                <a:cubicBezTo>
                  <a:pt x="1136" y="32"/>
                  <a:pt x="1149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55" y="32"/>
                  <a:pt x="1155" y="32"/>
                  <a:pt x="1155" y="32"/>
                </a:cubicBezTo>
                <a:cubicBezTo>
                  <a:pt x="1168" y="32"/>
                  <a:pt x="1174" y="32"/>
                  <a:pt x="1205" y="39"/>
                </a:cubicBezTo>
                <a:cubicBezTo>
                  <a:pt x="1243" y="45"/>
                  <a:pt x="1237" y="39"/>
                  <a:pt x="1243" y="39"/>
                </a:cubicBezTo>
                <a:cubicBezTo>
                  <a:pt x="1256" y="45"/>
                  <a:pt x="1262" y="45"/>
                  <a:pt x="1268" y="45"/>
                </a:cubicBezTo>
                <a:cubicBezTo>
                  <a:pt x="1268" y="45"/>
                  <a:pt x="1262" y="45"/>
                  <a:pt x="1256" y="45"/>
                </a:cubicBezTo>
                <a:cubicBezTo>
                  <a:pt x="1268" y="45"/>
                  <a:pt x="1268" y="45"/>
                  <a:pt x="1274" y="45"/>
                </a:cubicBezTo>
                <a:cubicBezTo>
                  <a:pt x="1281" y="45"/>
                  <a:pt x="1281" y="45"/>
                  <a:pt x="1287" y="51"/>
                </a:cubicBezTo>
                <a:cubicBezTo>
                  <a:pt x="1281" y="51"/>
                  <a:pt x="1256" y="45"/>
                  <a:pt x="1212" y="39"/>
                </a:cubicBezTo>
                <a:cubicBezTo>
                  <a:pt x="1199" y="39"/>
                  <a:pt x="1174" y="32"/>
                  <a:pt x="1161" y="32"/>
                </a:cubicBezTo>
                <a:cubicBezTo>
                  <a:pt x="1161" y="32"/>
                  <a:pt x="1161" y="32"/>
                  <a:pt x="1155" y="32"/>
                </a:cubicBezTo>
                <a:cubicBezTo>
                  <a:pt x="1118" y="32"/>
                  <a:pt x="1118" y="32"/>
                  <a:pt x="1130" y="32"/>
                </a:cubicBezTo>
                <a:cubicBezTo>
                  <a:pt x="1080" y="26"/>
                  <a:pt x="1055" y="26"/>
                  <a:pt x="1017" y="26"/>
                </a:cubicBezTo>
                <a:cubicBezTo>
                  <a:pt x="992" y="26"/>
                  <a:pt x="973" y="26"/>
                  <a:pt x="954" y="26"/>
                </a:cubicBezTo>
                <a:cubicBezTo>
                  <a:pt x="1061" y="26"/>
                  <a:pt x="1224" y="39"/>
                  <a:pt x="1300" y="58"/>
                </a:cubicBezTo>
                <a:cubicBezTo>
                  <a:pt x="1312" y="58"/>
                  <a:pt x="1306" y="58"/>
                  <a:pt x="1312" y="58"/>
                </a:cubicBezTo>
                <a:cubicBezTo>
                  <a:pt x="1419" y="83"/>
                  <a:pt x="1431" y="89"/>
                  <a:pt x="1482" y="115"/>
                </a:cubicBezTo>
                <a:cubicBezTo>
                  <a:pt x="1425" y="89"/>
                  <a:pt x="1350" y="64"/>
                  <a:pt x="1337" y="64"/>
                </a:cubicBezTo>
                <a:cubicBezTo>
                  <a:pt x="1312" y="58"/>
                  <a:pt x="1293" y="58"/>
                  <a:pt x="1274" y="51"/>
                </a:cubicBezTo>
                <a:cubicBezTo>
                  <a:pt x="1274" y="51"/>
                  <a:pt x="1274" y="51"/>
                  <a:pt x="1274" y="51"/>
                </a:cubicBezTo>
                <a:cubicBezTo>
                  <a:pt x="1130" y="26"/>
                  <a:pt x="1042" y="26"/>
                  <a:pt x="923" y="32"/>
                </a:cubicBezTo>
                <a:cubicBezTo>
                  <a:pt x="929" y="32"/>
                  <a:pt x="936" y="32"/>
                  <a:pt x="936" y="32"/>
                </a:cubicBezTo>
                <a:cubicBezTo>
                  <a:pt x="936" y="32"/>
                  <a:pt x="936" y="32"/>
                  <a:pt x="929" y="32"/>
                </a:cubicBezTo>
                <a:cubicBezTo>
                  <a:pt x="929" y="32"/>
                  <a:pt x="929" y="32"/>
                  <a:pt x="923" y="32"/>
                </a:cubicBezTo>
                <a:cubicBezTo>
                  <a:pt x="923" y="32"/>
                  <a:pt x="923" y="32"/>
                  <a:pt x="917" y="32"/>
                </a:cubicBezTo>
                <a:cubicBezTo>
                  <a:pt x="917" y="32"/>
                  <a:pt x="917" y="32"/>
                  <a:pt x="910" y="32"/>
                </a:cubicBezTo>
                <a:cubicBezTo>
                  <a:pt x="867" y="39"/>
                  <a:pt x="892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67" y="39"/>
                  <a:pt x="867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67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73" y="39"/>
                  <a:pt x="873" y="39"/>
                  <a:pt x="873" y="39"/>
                </a:cubicBezTo>
                <a:cubicBezTo>
                  <a:pt x="892" y="39"/>
                  <a:pt x="917" y="39"/>
                  <a:pt x="936" y="32"/>
                </a:cubicBezTo>
                <a:cubicBezTo>
                  <a:pt x="929" y="39"/>
                  <a:pt x="929" y="39"/>
                  <a:pt x="929" y="39"/>
                </a:cubicBezTo>
                <a:cubicBezTo>
                  <a:pt x="954" y="32"/>
                  <a:pt x="961" y="32"/>
                  <a:pt x="973" y="32"/>
                </a:cubicBezTo>
                <a:cubicBezTo>
                  <a:pt x="986" y="32"/>
                  <a:pt x="992" y="32"/>
                  <a:pt x="998" y="32"/>
                </a:cubicBezTo>
                <a:cubicBezTo>
                  <a:pt x="986" y="32"/>
                  <a:pt x="973" y="32"/>
                  <a:pt x="961" y="32"/>
                </a:cubicBezTo>
                <a:cubicBezTo>
                  <a:pt x="961" y="32"/>
                  <a:pt x="961" y="32"/>
                  <a:pt x="954" y="32"/>
                </a:cubicBezTo>
                <a:cubicBezTo>
                  <a:pt x="973" y="32"/>
                  <a:pt x="998" y="32"/>
                  <a:pt x="1023" y="32"/>
                </a:cubicBezTo>
                <a:cubicBezTo>
                  <a:pt x="1030" y="32"/>
                  <a:pt x="1030" y="32"/>
                  <a:pt x="1036" y="32"/>
                </a:cubicBezTo>
                <a:cubicBezTo>
                  <a:pt x="1061" y="32"/>
                  <a:pt x="1080" y="32"/>
                  <a:pt x="1118" y="39"/>
                </a:cubicBezTo>
                <a:cubicBezTo>
                  <a:pt x="1130" y="39"/>
                  <a:pt x="1130" y="39"/>
                  <a:pt x="1130" y="39"/>
                </a:cubicBezTo>
                <a:cubicBezTo>
                  <a:pt x="1130" y="39"/>
                  <a:pt x="1130" y="39"/>
                  <a:pt x="1136" y="39"/>
                </a:cubicBezTo>
                <a:cubicBezTo>
                  <a:pt x="1136" y="39"/>
                  <a:pt x="1136" y="39"/>
                  <a:pt x="1143" y="39"/>
                </a:cubicBezTo>
                <a:cubicBezTo>
                  <a:pt x="1149" y="39"/>
                  <a:pt x="1155" y="39"/>
                  <a:pt x="1155" y="39"/>
                </a:cubicBezTo>
                <a:cubicBezTo>
                  <a:pt x="1155" y="39"/>
                  <a:pt x="1155" y="39"/>
                  <a:pt x="1155" y="39"/>
                </a:cubicBezTo>
                <a:cubicBezTo>
                  <a:pt x="1174" y="45"/>
                  <a:pt x="1237" y="51"/>
                  <a:pt x="1262" y="51"/>
                </a:cubicBezTo>
                <a:cubicBezTo>
                  <a:pt x="1262" y="51"/>
                  <a:pt x="1262" y="51"/>
                  <a:pt x="1243" y="51"/>
                </a:cubicBezTo>
                <a:cubicBezTo>
                  <a:pt x="1293" y="58"/>
                  <a:pt x="1300" y="58"/>
                  <a:pt x="1306" y="64"/>
                </a:cubicBezTo>
                <a:cubicBezTo>
                  <a:pt x="1325" y="64"/>
                  <a:pt x="1350" y="70"/>
                  <a:pt x="1369" y="77"/>
                </a:cubicBezTo>
                <a:cubicBezTo>
                  <a:pt x="1369" y="77"/>
                  <a:pt x="1369" y="77"/>
                  <a:pt x="1375" y="77"/>
                </a:cubicBezTo>
                <a:cubicBezTo>
                  <a:pt x="1381" y="83"/>
                  <a:pt x="1387" y="83"/>
                  <a:pt x="1387" y="83"/>
                </a:cubicBezTo>
                <a:cubicBezTo>
                  <a:pt x="1387" y="83"/>
                  <a:pt x="1387" y="83"/>
                  <a:pt x="1387" y="83"/>
                </a:cubicBezTo>
                <a:cubicBezTo>
                  <a:pt x="1425" y="96"/>
                  <a:pt x="1469" y="115"/>
                  <a:pt x="1500" y="134"/>
                </a:cubicBezTo>
                <a:cubicBezTo>
                  <a:pt x="1494" y="127"/>
                  <a:pt x="1500" y="134"/>
                  <a:pt x="1507" y="134"/>
                </a:cubicBezTo>
                <a:cubicBezTo>
                  <a:pt x="1513" y="140"/>
                  <a:pt x="1519" y="140"/>
                  <a:pt x="1519" y="140"/>
                </a:cubicBezTo>
                <a:cubicBezTo>
                  <a:pt x="1544" y="159"/>
                  <a:pt x="1582" y="172"/>
                  <a:pt x="1594" y="191"/>
                </a:cubicBezTo>
                <a:cubicBezTo>
                  <a:pt x="1607" y="197"/>
                  <a:pt x="1620" y="204"/>
                  <a:pt x="1626" y="223"/>
                </a:cubicBezTo>
                <a:cubicBezTo>
                  <a:pt x="1620" y="216"/>
                  <a:pt x="1626" y="223"/>
                  <a:pt x="1626" y="223"/>
                </a:cubicBezTo>
                <a:cubicBezTo>
                  <a:pt x="1626" y="223"/>
                  <a:pt x="1626" y="223"/>
                  <a:pt x="1620" y="216"/>
                </a:cubicBezTo>
                <a:cubicBezTo>
                  <a:pt x="1620" y="216"/>
                  <a:pt x="1613" y="204"/>
                  <a:pt x="1607" y="197"/>
                </a:cubicBezTo>
                <a:cubicBezTo>
                  <a:pt x="1576" y="172"/>
                  <a:pt x="1532" y="153"/>
                  <a:pt x="1500" y="134"/>
                </a:cubicBezTo>
                <a:cubicBezTo>
                  <a:pt x="1519" y="146"/>
                  <a:pt x="1513" y="140"/>
                  <a:pt x="1513" y="140"/>
                </a:cubicBezTo>
                <a:cubicBezTo>
                  <a:pt x="1519" y="146"/>
                  <a:pt x="1532" y="153"/>
                  <a:pt x="1538" y="153"/>
                </a:cubicBezTo>
                <a:cubicBezTo>
                  <a:pt x="1532" y="153"/>
                  <a:pt x="1532" y="153"/>
                  <a:pt x="1525" y="146"/>
                </a:cubicBezTo>
                <a:cubicBezTo>
                  <a:pt x="1538" y="153"/>
                  <a:pt x="1538" y="153"/>
                  <a:pt x="1538" y="153"/>
                </a:cubicBezTo>
                <a:cubicBezTo>
                  <a:pt x="1538" y="153"/>
                  <a:pt x="1538" y="153"/>
                  <a:pt x="1563" y="172"/>
                </a:cubicBezTo>
                <a:cubicBezTo>
                  <a:pt x="1613" y="204"/>
                  <a:pt x="1626" y="229"/>
                  <a:pt x="1626" y="229"/>
                </a:cubicBezTo>
                <a:cubicBezTo>
                  <a:pt x="1626" y="229"/>
                  <a:pt x="1626" y="229"/>
                  <a:pt x="1632" y="229"/>
                </a:cubicBezTo>
                <a:cubicBezTo>
                  <a:pt x="1632" y="235"/>
                  <a:pt x="1638" y="235"/>
                  <a:pt x="1638" y="235"/>
                </a:cubicBezTo>
                <a:cubicBezTo>
                  <a:pt x="1638" y="235"/>
                  <a:pt x="1638" y="235"/>
                  <a:pt x="1638" y="235"/>
                </a:cubicBezTo>
                <a:cubicBezTo>
                  <a:pt x="1638" y="235"/>
                  <a:pt x="1638" y="235"/>
                  <a:pt x="1632" y="229"/>
                </a:cubicBezTo>
                <a:cubicBezTo>
                  <a:pt x="1632" y="235"/>
                  <a:pt x="1632" y="235"/>
                  <a:pt x="1638" y="235"/>
                </a:cubicBezTo>
                <a:cubicBezTo>
                  <a:pt x="1638" y="235"/>
                  <a:pt x="1638" y="235"/>
                  <a:pt x="1645" y="248"/>
                </a:cubicBezTo>
                <a:cubicBezTo>
                  <a:pt x="1645" y="242"/>
                  <a:pt x="1645" y="242"/>
                  <a:pt x="1645" y="242"/>
                </a:cubicBezTo>
                <a:cubicBezTo>
                  <a:pt x="1651" y="254"/>
                  <a:pt x="1664" y="261"/>
                  <a:pt x="1670" y="273"/>
                </a:cubicBezTo>
                <a:cubicBezTo>
                  <a:pt x="1682" y="280"/>
                  <a:pt x="1689" y="292"/>
                  <a:pt x="1695" y="305"/>
                </a:cubicBezTo>
                <a:cubicBezTo>
                  <a:pt x="1689" y="299"/>
                  <a:pt x="1689" y="292"/>
                  <a:pt x="1682" y="286"/>
                </a:cubicBezTo>
                <a:cubicBezTo>
                  <a:pt x="1689" y="286"/>
                  <a:pt x="1689" y="292"/>
                  <a:pt x="1689" y="292"/>
                </a:cubicBezTo>
                <a:cubicBezTo>
                  <a:pt x="1682" y="286"/>
                  <a:pt x="1682" y="286"/>
                  <a:pt x="1682" y="280"/>
                </a:cubicBezTo>
                <a:cubicBezTo>
                  <a:pt x="1682" y="286"/>
                  <a:pt x="1689" y="292"/>
                  <a:pt x="1689" y="299"/>
                </a:cubicBezTo>
                <a:cubicBezTo>
                  <a:pt x="1689" y="292"/>
                  <a:pt x="1689" y="292"/>
                  <a:pt x="1689" y="292"/>
                </a:cubicBezTo>
                <a:cubicBezTo>
                  <a:pt x="1689" y="292"/>
                  <a:pt x="1689" y="292"/>
                  <a:pt x="1689" y="299"/>
                </a:cubicBezTo>
                <a:cubicBezTo>
                  <a:pt x="1695" y="305"/>
                  <a:pt x="1701" y="318"/>
                  <a:pt x="1707" y="324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24"/>
                  <a:pt x="1707" y="324"/>
                  <a:pt x="1707" y="324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1" y="318"/>
                  <a:pt x="1701" y="318"/>
                  <a:pt x="1701" y="318"/>
                </a:cubicBezTo>
                <a:cubicBezTo>
                  <a:pt x="1701" y="324"/>
                  <a:pt x="1701" y="324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1"/>
                  <a:pt x="1707" y="331"/>
                  <a:pt x="1707" y="331"/>
                </a:cubicBezTo>
                <a:cubicBezTo>
                  <a:pt x="1707" y="337"/>
                  <a:pt x="1707" y="337"/>
                  <a:pt x="1707" y="337"/>
                </a:cubicBezTo>
                <a:cubicBezTo>
                  <a:pt x="1714" y="343"/>
                  <a:pt x="1714" y="343"/>
                  <a:pt x="1714" y="343"/>
                </a:cubicBezTo>
                <a:cubicBezTo>
                  <a:pt x="1714" y="350"/>
                  <a:pt x="1720" y="356"/>
                  <a:pt x="1720" y="369"/>
                </a:cubicBezTo>
                <a:cubicBezTo>
                  <a:pt x="1720" y="362"/>
                  <a:pt x="1714" y="356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14" y="350"/>
                  <a:pt x="1714" y="350"/>
                  <a:pt x="1714" y="350"/>
                </a:cubicBezTo>
                <a:cubicBezTo>
                  <a:pt x="1720" y="362"/>
                  <a:pt x="1720" y="369"/>
                  <a:pt x="1726" y="375"/>
                </a:cubicBezTo>
                <a:cubicBezTo>
                  <a:pt x="1726" y="375"/>
                  <a:pt x="1726" y="375"/>
                  <a:pt x="1720" y="375"/>
                </a:cubicBezTo>
                <a:cubicBezTo>
                  <a:pt x="1726" y="375"/>
                  <a:pt x="1726" y="381"/>
                  <a:pt x="1726" y="388"/>
                </a:cubicBezTo>
                <a:cubicBezTo>
                  <a:pt x="1733" y="394"/>
                  <a:pt x="1733" y="394"/>
                  <a:pt x="1733" y="394"/>
                </a:cubicBezTo>
                <a:cubicBezTo>
                  <a:pt x="1733" y="400"/>
                  <a:pt x="1733" y="407"/>
                  <a:pt x="1733" y="407"/>
                </a:cubicBezTo>
                <a:cubicBezTo>
                  <a:pt x="1733" y="400"/>
                  <a:pt x="1733" y="394"/>
                  <a:pt x="1726" y="388"/>
                </a:cubicBezTo>
                <a:cubicBezTo>
                  <a:pt x="1726" y="388"/>
                  <a:pt x="1739" y="426"/>
                  <a:pt x="1739" y="451"/>
                </a:cubicBezTo>
                <a:cubicBezTo>
                  <a:pt x="1739" y="451"/>
                  <a:pt x="1739" y="451"/>
                  <a:pt x="1733" y="426"/>
                </a:cubicBezTo>
                <a:cubicBezTo>
                  <a:pt x="1739" y="438"/>
                  <a:pt x="1739" y="451"/>
                  <a:pt x="1739" y="464"/>
                </a:cubicBezTo>
                <a:cubicBezTo>
                  <a:pt x="1739" y="483"/>
                  <a:pt x="1739" y="477"/>
                  <a:pt x="1739" y="483"/>
                </a:cubicBezTo>
                <a:cubicBezTo>
                  <a:pt x="1739" y="489"/>
                  <a:pt x="1739" y="496"/>
                  <a:pt x="1739" y="502"/>
                </a:cubicBezTo>
                <a:cubicBezTo>
                  <a:pt x="1739" y="502"/>
                  <a:pt x="1739" y="502"/>
                  <a:pt x="1739" y="502"/>
                </a:cubicBezTo>
                <a:cubicBezTo>
                  <a:pt x="1739" y="502"/>
                  <a:pt x="1739" y="502"/>
                  <a:pt x="1739" y="508"/>
                </a:cubicBezTo>
                <a:cubicBezTo>
                  <a:pt x="1739" y="515"/>
                  <a:pt x="1739" y="534"/>
                  <a:pt x="1739" y="540"/>
                </a:cubicBezTo>
                <a:cubicBezTo>
                  <a:pt x="1739" y="546"/>
                  <a:pt x="1739" y="546"/>
                  <a:pt x="1739" y="546"/>
                </a:cubicBezTo>
                <a:cubicBezTo>
                  <a:pt x="1739" y="553"/>
                  <a:pt x="1739" y="559"/>
                  <a:pt x="1739" y="572"/>
                </a:cubicBezTo>
                <a:cubicBezTo>
                  <a:pt x="1739" y="572"/>
                  <a:pt x="1733" y="623"/>
                  <a:pt x="1720" y="648"/>
                </a:cubicBezTo>
                <a:cubicBezTo>
                  <a:pt x="1720" y="654"/>
                  <a:pt x="1720" y="654"/>
                  <a:pt x="1720" y="661"/>
                </a:cubicBezTo>
                <a:cubicBezTo>
                  <a:pt x="1714" y="667"/>
                  <a:pt x="1714" y="680"/>
                  <a:pt x="1707" y="686"/>
                </a:cubicBezTo>
                <a:cubicBezTo>
                  <a:pt x="1714" y="680"/>
                  <a:pt x="1714" y="673"/>
                  <a:pt x="1720" y="667"/>
                </a:cubicBezTo>
                <a:cubicBezTo>
                  <a:pt x="1720" y="667"/>
                  <a:pt x="1720" y="667"/>
                  <a:pt x="1707" y="705"/>
                </a:cubicBezTo>
                <a:cubicBezTo>
                  <a:pt x="1701" y="718"/>
                  <a:pt x="1695" y="718"/>
                  <a:pt x="1695" y="718"/>
                </a:cubicBezTo>
                <a:cubicBezTo>
                  <a:pt x="1695" y="724"/>
                  <a:pt x="1689" y="730"/>
                  <a:pt x="1689" y="737"/>
                </a:cubicBezTo>
                <a:cubicBezTo>
                  <a:pt x="1689" y="737"/>
                  <a:pt x="1689" y="737"/>
                  <a:pt x="1689" y="737"/>
                </a:cubicBezTo>
                <a:cubicBezTo>
                  <a:pt x="1682" y="743"/>
                  <a:pt x="1682" y="750"/>
                  <a:pt x="1682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6"/>
                  <a:pt x="1670" y="756"/>
                  <a:pt x="1670" y="756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70" y="750"/>
                  <a:pt x="1670" y="750"/>
                  <a:pt x="1670" y="750"/>
                </a:cubicBezTo>
                <a:cubicBezTo>
                  <a:pt x="1682" y="750"/>
                  <a:pt x="1682" y="750"/>
                  <a:pt x="1682" y="750"/>
                </a:cubicBezTo>
                <a:cubicBezTo>
                  <a:pt x="1682" y="750"/>
                  <a:pt x="1682" y="750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43"/>
                </a:cubicBezTo>
                <a:cubicBezTo>
                  <a:pt x="1682" y="743"/>
                  <a:pt x="1682" y="743"/>
                  <a:pt x="1682" y="737"/>
                </a:cubicBezTo>
                <a:cubicBezTo>
                  <a:pt x="1682" y="750"/>
                  <a:pt x="1670" y="756"/>
                  <a:pt x="1664" y="762"/>
                </a:cubicBezTo>
                <a:cubicBezTo>
                  <a:pt x="1657" y="769"/>
                  <a:pt x="1651" y="775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45" y="788"/>
                  <a:pt x="1638" y="794"/>
                  <a:pt x="1632" y="800"/>
                </a:cubicBezTo>
                <a:cubicBezTo>
                  <a:pt x="1632" y="807"/>
                  <a:pt x="1632" y="807"/>
                  <a:pt x="1632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2" y="800"/>
                </a:cubicBezTo>
                <a:cubicBezTo>
                  <a:pt x="1638" y="794"/>
                  <a:pt x="1638" y="788"/>
                  <a:pt x="1645" y="788"/>
                </a:cubicBezTo>
                <a:cubicBezTo>
                  <a:pt x="1645" y="788"/>
                  <a:pt x="1645" y="788"/>
                  <a:pt x="1645" y="788"/>
                </a:cubicBezTo>
                <a:cubicBezTo>
                  <a:pt x="1638" y="794"/>
                  <a:pt x="1638" y="794"/>
                  <a:pt x="1638" y="800"/>
                </a:cubicBezTo>
                <a:cubicBezTo>
                  <a:pt x="1632" y="800"/>
                  <a:pt x="1632" y="807"/>
                  <a:pt x="1626" y="807"/>
                </a:cubicBezTo>
                <a:cubicBezTo>
                  <a:pt x="1626" y="807"/>
                  <a:pt x="1626" y="807"/>
                  <a:pt x="1626" y="807"/>
                </a:cubicBezTo>
                <a:cubicBezTo>
                  <a:pt x="1632" y="807"/>
                  <a:pt x="1632" y="800"/>
                  <a:pt x="1638" y="800"/>
                </a:cubicBezTo>
                <a:cubicBezTo>
                  <a:pt x="1620" y="813"/>
                  <a:pt x="1607" y="832"/>
                  <a:pt x="1594" y="845"/>
                </a:cubicBezTo>
                <a:cubicBezTo>
                  <a:pt x="1601" y="838"/>
                  <a:pt x="1601" y="838"/>
                  <a:pt x="1601" y="838"/>
                </a:cubicBezTo>
                <a:cubicBezTo>
                  <a:pt x="1594" y="838"/>
                  <a:pt x="1594" y="845"/>
                  <a:pt x="1588" y="845"/>
                </a:cubicBezTo>
                <a:cubicBezTo>
                  <a:pt x="1594" y="845"/>
                  <a:pt x="1594" y="838"/>
                  <a:pt x="1594" y="838"/>
                </a:cubicBezTo>
                <a:cubicBezTo>
                  <a:pt x="1594" y="838"/>
                  <a:pt x="1594" y="838"/>
                  <a:pt x="1601" y="832"/>
                </a:cubicBezTo>
                <a:cubicBezTo>
                  <a:pt x="1607" y="832"/>
                  <a:pt x="1607" y="832"/>
                  <a:pt x="1607" y="832"/>
                </a:cubicBezTo>
                <a:cubicBezTo>
                  <a:pt x="1607" y="832"/>
                  <a:pt x="1601" y="832"/>
                  <a:pt x="1601" y="838"/>
                </a:cubicBezTo>
                <a:cubicBezTo>
                  <a:pt x="1601" y="832"/>
                  <a:pt x="1607" y="832"/>
                  <a:pt x="1607" y="832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07" y="826"/>
                  <a:pt x="1607" y="826"/>
                  <a:pt x="1607" y="826"/>
                </a:cubicBezTo>
                <a:cubicBezTo>
                  <a:pt x="1613" y="826"/>
                  <a:pt x="1613" y="826"/>
                  <a:pt x="1613" y="826"/>
                </a:cubicBezTo>
                <a:cubicBezTo>
                  <a:pt x="1613" y="826"/>
                  <a:pt x="1613" y="826"/>
                  <a:pt x="1607" y="826"/>
                </a:cubicBezTo>
                <a:cubicBezTo>
                  <a:pt x="1620" y="813"/>
                  <a:pt x="1620" y="813"/>
                  <a:pt x="1620" y="813"/>
                </a:cubicBezTo>
                <a:cubicBezTo>
                  <a:pt x="1626" y="807"/>
                  <a:pt x="1626" y="800"/>
                  <a:pt x="1620" y="813"/>
                </a:cubicBezTo>
                <a:cubicBezTo>
                  <a:pt x="1632" y="800"/>
                  <a:pt x="1638" y="788"/>
                  <a:pt x="1651" y="775"/>
                </a:cubicBezTo>
                <a:cubicBezTo>
                  <a:pt x="1620" y="807"/>
                  <a:pt x="1620" y="807"/>
                  <a:pt x="1576" y="857"/>
                </a:cubicBezTo>
                <a:cubicBezTo>
                  <a:pt x="1563" y="864"/>
                  <a:pt x="1563" y="864"/>
                  <a:pt x="1576" y="857"/>
                </a:cubicBezTo>
                <a:cubicBezTo>
                  <a:pt x="1563" y="864"/>
                  <a:pt x="1557" y="864"/>
                  <a:pt x="1557" y="870"/>
                </a:cubicBezTo>
                <a:cubicBezTo>
                  <a:pt x="1563" y="864"/>
                  <a:pt x="1576" y="857"/>
                  <a:pt x="1582" y="857"/>
                </a:cubicBezTo>
                <a:cubicBezTo>
                  <a:pt x="1576" y="857"/>
                  <a:pt x="1576" y="857"/>
                  <a:pt x="1576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82" y="857"/>
                  <a:pt x="1582" y="857"/>
                  <a:pt x="1582" y="857"/>
                </a:cubicBezTo>
                <a:cubicBezTo>
                  <a:pt x="1576" y="864"/>
                  <a:pt x="1576" y="864"/>
                  <a:pt x="1576" y="864"/>
                </a:cubicBezTo>
                <a:cubicBezTo>
                  <a:pt x="1576" y="864"/>
                  <a:pt x="1576" y="864"/>
                  <a:pt x="1582" y="857"/>
                </a:cubicBezTo>
                <a:cubicBezTo>
                  <a:pt x="1576" y="864"/>
                  <a:pt x="1563" y="864"/>
                  <a:pt x="1563" y="870"/>
                </a:cubicBezTo>
                <a:cubicBezTo>
                  <a:pt x="1563" y="870"/>
                  <a:pt x="1563" y="870"/>
                  <a:pt x="1557" y="876"/>
                </a:cubicBezTo>
                <a:cubicBezTo>
                  <a:pt x="1551" y="876"/>
                  <a:pt x="1551" y="883"/>
                  <a:pt x="1532" y="889"/>
                </a:cubicBezTo>
                <a:cubicBezTo>
                  <a:pt x="1538" y="883"/>
                  <a:pt x="1544" y="883"/>
                  <a:pt x="1557" y="876"/>
                </a:cubicBezTo>
                <a:cubicBezTo>
                  <a:pt x="1563" y="870"/>
                  <a:pt x="1563" y="870"/>
                  <a:pt x="1576" y="864"/>
                </a:cubicBezTo>
                <a:cubicBezTo>
                  <a:pt x="1576" y="864"/>
                  <a:pt x="1544" y="883"/>
                  <a:pt x="1551" y="876"/>
                </a:cubicBezTo>
                <a:cubicBezTo>
                  <a:pt x="1525" y="896"/>
                  <a:pt x="1513" y="902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482" y="927"/>
                  <a:pt x="1475" y="934"/>
                  <a:pt x="1456" y="946"/>
                </a:cubicBezTo>
                <a:cubicBezTo>
                  <a:pt x="1444" y="946"/>
                  <a:pt x="1438" y="953"/>
                  <a:pt x="1431" y="953"/>
                </a:cubicBezTo>
                <a:cubicBezTo>
                  <a:pt x="1438" y="953"/>
                  <a:pt x="1444" y="953"/>
                  <a:pt x="1444" y="946"/>
                </a:cubicBezTo>
                <a:cubicBezTo>
                  <a:pt x="1444" y="946"/>
                  <a:pt x="1456" y="946"/>
                  <a:pt x="1463" y="946"/>
                </a:cubicBezTo>
                <a:cubicBezTo>
                  <a:pt x="1475" y="934"/>
                  <a:pt x="1488" y="927"/>
                  <a:pt x="1500" y="921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488" y="921"/>
                  <a:pt x="1488" y="921"/>
                  <a:pt x="1488" y="921"/>
                </a:cubicBezTo>
                <a:cubicBezTo>
                  <a:pt x="1494" y="921"/>
                  <a:pt x="1494" y="921"/>
                  <a:pt x="1494" y="921"/>
                </a:cubicBezTo>
                <a:cubicBezTo>
                  <a:pt x="1500" y="921"/>
                  <a:pt x="1507" y="908"/>
                  <a:pt x="1513" y="902"/>
                </a:cubicBezTo>
                <a:cubicBezTo>
                  <a:pt x="1513" y="902"/>
                  <a:pt x="1513" y="902"/>
                  <a:pt x="1513" y="908"/>
                </a:cubicBezTo>
                <a:cubicBezTo>
                  <a:pt x="1513" y="908"/>
                  <a:pt x="1513" y="908"/>
                  <a:pt x="1513" y="908"/>
                </a:cubicBezTo>
                <a:cubicBezTo>
                  <a:pt x="1513" y="908"/>
                  <a:pt x="1513" y="908"/>
                  <a:pt x="1507" y="908"/>
                </a:cubicBezTo>
                <a:cubicBezTo>
                  <a:pt x="1500" y="921"/>
                  <a:pt x="1494" y="927"/>
                  <a:pt x="1488" y="927"/>
                </a:cubicBezTo>
                <a:cubicBezTo>
                  <a:pt x="1482" y="927"/>
                  <a:pt x="1482" y="934"/>
                  <a:pt x="1475" y="934"/>
                </a:cubicBezTo>
                <a:cubicBezTo>
                  <a:pt x="1482" y="934"/>
                  <a:pt x="1482" y="934"/>
                  <a:pt x="1482" y="934"/>
                </a:cubicBezTo>
                <a:cubicBezTo>
                  <a:pt x="1475" y="934"/>
                  <a:pt x="1469" y="940"/>
                  <a:pt x="1463" y="946"/>
                </a:cubicBezTo>
                <a:cubicBezTo>
                  <a:pt x="1463" y="940"/>
                  <a:pt x="1463" y="940"/>
                  <a:pt x="1463" y="940"/>
                </a:cubicBezTo>
                <a:cubicBezTo>
                  <a:pt x="1463" y="940"/>
                  <a:pt x="1463" y="940"/>
                  <a:pt x="1463" y="946"/>
                </a:cubicBezTo>
                <a:cubicBezTo>
                  <a:pt x="1456" y="946"/>
                  <a:pt x="1456" y="946"/>
                  <a:pt x="1456" y="946"/>
                </a:cubicBezTo>
                <a:cubicBezTo>
                  <a:pt x="1438" y="953"/>
                  <a:pt x="1425" y="959"/>
                  <a:pt x="1412" y="965"/>
                </a:cubicBezTo>
                <a:cubicBezTo>
                  <a:pt x="1387" y="978"/>
                  <a:pt x="1369" y="991"/>
                  <a:pt x="1337" y="997"/>
                </a:cubicBezTo>
                <a:cubicBezTo>
                  <a:pt x="1318" y="1003"/>
                  <a:pt x="1300" y="1016"/>
                  <a:pt x="1287" y="1022"/>
                </a:cubicBezTo>
                <a:cubicBezTo>
                  <a:pt x="1293" y="1022"/>
                  <a:pt x="1300" y="1016"/>
                  <a:pt x="1318" y="1003"/>
                </a:cubicBezTo>
                <a:cubicBezTo>
                  <a:pt x="1312" y="1016"/>
                  <a:pt x="1306" y="1016"/>
                  <a:pt x="1300" y="1016"/>
                </a:cubicBezTo>
                <a:cubicBezTo>
                  <a:pt x="1274" y="1029"/>
                  <a:pt x="1268" y="1029"/>
                  <a:pt x="1243" y="1035"/>
                </a:cubicBezTo>
                <a:cubicBezTo>
                  <a:pt x="1243" y="1035"/>
                  <a:pt x="1243" y="1035"/>
                  <a:pt x="1243" y="1042"/>
                </a:cubicBezTo>
                <a:cubicBezTo>
                  <a:pt x="1262" y="1029"/>
                  <a:pt x="1287" y="1022"/>
                  <a:pt x="1274" y="1029"/>
                </a:cubicBezTo>
                <a:cubicBezTo>
                  <a:pt x="1274" y="1029"/>
                  <a:pt x="1274" y="1029"/>
                  <a:pt x="1274" y="1029"/>
                </a:cubicBezTo>
                <a:cubicBezTo>
                  <a:pt x="1268" y="1029"/>
                  <a:pt x="1268" y="1029"/>
                  <a:pt x="1268" y="1029"/>
                </a:cubicBezTo>
                <a:cubicBezTo>
                  <a:pt x="1262" y="1035"/>
                  <a:pt x="1262" y="1035"/>
                  <a:pt x="1262" y="1035"/>
                </a:cubicBezTo>
                <a:cubicBezTo>
                  <a:pt x="1243" y="1042"/>
                  <a:pt x="1218" y="1048"/>
                  <a:pt x="1205" y="1048"/>
                </a:cubicBezTo>
                <a:cubicBezTo>
                  <a:pt x="1205" y="1048"/>
                  <a:pt x="1212" y="1048"/>
                  <a:pt x="1218" y="1042"/>
                </a:cubicBezTo>
                <a:cubicBezTo>
                  <a:pt x="1218" y="1042"/>
                  <a:pt x="1218" y="1042"/>
                  <a:pt x="1205" y="1048"/>
                </a:cubicBezTo>
                <a:cubicBezTo>
                  <a:pt x="1205" y="1048"/>
                  <a:pt x="1205" y="1048"/>
                  <a:pt x="1224" y="1042"/>
                </a:cubicBezTo>
                <a:cubicBezTo>
                  <a:pt x="1224" y="1042"/>
                  <a:pt x="1224" y="1042"/>
                  <a:pt x="1224" y="1042"/>
                </a:cubicBezTo>
                <a:cubicBezTo>
                  <a:pt x="1212" y="1048"/>
                  <a:pt x="1218" y="1042"/>
                  <a:pt x="1205" y="1048"/>
                </a:cubicBezTo>
                <a:cubicBezTo>
                  <a:pt x="1237" y="1042"/>
                  <a:pt x="1268" y="1029"/>
                  <a:pt x="1300" y="1016"/>
                </a:cubicBezTo>
                <a:cubicBezTo>
                  <a:pt x="1281" y="1022"/>
                  <a:pt x="1281" y="1022"/>
                  <a:pt x="1281" y="1022"/>
                </a:cubicBezTo>
                <a:cubicBezTo>
                  <a:pt x="1287" y="1022"/>
                  <a:pt x="1300" y="1016"/>
                  <a:pt x="1306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18" y="1003"/>
                </a:cubicBezTo>
                <a:cubicBezTo>
                  <a:pt x="1312" y="1003"/>
                  <a:pt x="1312" y="1003"/>
                  <a:pt x="1312" y="1003"/>
                </a:cubicBezTo>
                <a:cubicBezTo>
                  <a:pt x="1318" y="1003"/>
                  <a:pt x="1318" y="1003"/>
                  <a:pt x="1325" y="1003"/>
                </a:cubicBezTo>
                <a:cubicBezTo>
                  <a:pt x="1369" y="984"/>
                  <a:pt x="1406" y="972"/>
                  <a:pt x="1419" y="959"/>
                </a:cubicBezTo>
                <a:cubicBezTo>
                  <a:pt x="1431" y="953"/>
                  <a:pt x="1438" y="946"/>
                  <a:pt x="1456" y="940"/>
                </a:cubicBezTo>
                <a:cubicBezTo>
                  <a:pt x="1469" y="934"/>
                  <a:pt x="1488" y="927"/>
                  <a:pt x="1494" y="921"/>
                </a:cubicBezTo>
                <a:cubicBezTo>
                  <a:pt x="1494" y="921"/>
                  <a:pt x="1494" y="921"/>
                  <a:pt x="1507" y="908"/>
                </a:cubicBezTo>
                <a:cubicBezTo>
                  <a:pt x="1507" y="908"/>
                  <a:pt x="1507" y="908"/>
                  <a:pt x="1507" y="908"/>
                </a:cubicBezTo>
                <a:cubicBezTo>
                  <a:pt x="1513" y="902"/>
                  <a:pt x="1513" y="902"/>
                  <a:pt x="1513" y="902"/>
                </a:cubicBezTo>
                <a:cubicBezTo>
                  <a:pt x="1513" y="902"/>
                  <a:pt x="1513" y="896"/>
                  <a:pt x="1525" y="896"/>
                </a:cubicBezTo>
                <a:cubicBezTo>
                  <a:pt x="1519" y="896"/>
                  <a:pt x="1519" y="896"/>
                  <a:pt x="1519" y="896"/>
                </a:cubicBezTo>
                <a:cubicBezTo>
                  <a:pt x="1519" y="896"/>
                  <a:pt x="1519" y="896"/>
                  <a:pt x="1513" y="902"/>
                </a:cubicBezTo>
                <a:cubicBezTo>
                  <a:pt x="1519" y="896"/>
                  <a:pt x="1519" y="896"/>
                  <a:pt x="1525" y="889"/>
                </a:cubicBezTo>
                <a:cubicBezTo>
                  <a:pt x="1513" y="902"/>
                  <a:pt x="1494" y="908"/>
                  <a:pt x="1482" y="927"/>
                </a:cubicBezTo>
                <a:cubicBezTo>
                  <a:pt x="1488" y="921"/>
                  <a:pt x="1482" y="927"/>
                  <a:pt x="1482" y="927"/>
                </a:cubicBezTo>
                <a:cubicBezTo>
                  <a:pt x="1482" y="927"/>
                  <a:pt x="1482" y="927"/>
                  <a:pt x="1469" y="934"/>
                </a:cubicBezTo>
                <a:cubicBezTo>
                  <a:pt x="1425" y="959"/>
                  <a:pt x="1400" y="965"/>
                  <a:pt x="1362" y="984"/>
                </a:cubicBezTo>
                <a:cubicBezTo>
                  <a:pt x="1337" y="991"/>
                  <a:pt x="1425" y="953"/>
                  <a:pt x="1350" y="991"/>
                </a:cubicBezTo>
                <a:cubicBezTo>
                  <a:pt x="1369" y="978"/>
                  <a:pt x="1375" y="978"/>
                  <a:pt x="1406" y="965"/>
                </a:cubicBezTo>
                <a:cubicBezTo>
                  <a:pt x="1406" y="965"/>
                  <a:pt x="1406" y="965"/>
                  <a:pt x="1419" y="959"/>
                </a:cubicBezTo>
                <a:cubicBezTo>
                  <a:pt x="1406" y="965"/>
                  <a:pt x="1387" y="972"/>
                  <a:pt x="1375" y="972"/>
                </a:cubicBezTo>
                <a:cubicBezTo>
                  <a:pt x="1369" y="978"/>
                  <a:pt x="1369" y="978"/>
                  <a:pt x="1362" y="984"/>
                </a:cubicBezTo>
                <a:cubicBezTo>
                  <a:pt x="1350" y="984"/>
                  <a:pt x="1331" y="991"/>
                  <a:pt x="1318" y="997"/>
                </a:cubicBezTo>
                <a:cubicBezTo>
                  <a:pt x="1312" y="997"/>
                  <a:pt x="1306" y="1003"/>
                  <a:pt x="1306" y="1003"/>
                </a:cubicBezTo>
                <a:cubicBezTo>
                  <a:pt x="1300" y="1003"/>
                  <a:pt x="1300" y="1003"/>
                  <a:pt x="1293" y="1003"/>
                </a:cubicBezTo>
                <a:cubicBezTo>
                  <a:pt x="1293" y="1003"/>
                  <a:pt x="1293" y="1003"/>
                  <a:pt x="1300" y="1003"/>
                </a:cubicBezTo>
                <a:cubicBezTo>
                  <a:pt x="1306" y="1003"/>
                  <a:pt x="1312" y="997"/>
                  <a:pt x="1312" y="997"/>
                </a:cubicBezTo>
                <a:cubicBezTo>
                  <a:pt x="1306" y="1003"/>
                  <a:pt x="1293" y="1003"/>
                  <a:pt x="1281" y="1016"/>
                </a:cubicBezTo>
                <a:cubicBezTo>
                  <a:pt x="1256" y="1022"/>
                  <a:pt x="1256" y="1022"/>
                  <a:pt x="1256" y="1022"/>
                </a:cubicBezTo>
                <a:cubicBezTo>
                  <a:pt x="1262" y="1022"/>
                  <a:pt x="1262" y="1022"/>
                  <a:pt x="1262" y="1022"/>
                </a:cubicBezTo>
                <a:cubicBezTo>
                  <a:pt x="1281" y="1016"/>
                  <a:pt x="1281" y="1016"/>
                  <a:pt x="1281" y="1016"/>
                </a:cubicBezTo>
                <a:cubicBezTo>
                  <a:pt x="1268" y="1022"/>
                  <a:pt x="1249" y="1029"/>
                  <a:pt x="1237" y="1029"/>
                </a:cubicBezTo>
                <a:cubicBezTo>
                  <a:pt x="1237" y="1029"/>
                  <a:pt x="1237" y="1029"/>
                  <a:pt x="1249" y="1029"/>
                </a:cubicBezTo>
                <a:cubicBezTo>
                  <a:pt x="1199" y="1042"/>
                  <a:pt x="1143" y="1061"/>
                  <a:pt x="1111" y="1061"/>
                </a:cubicBezTo>
                <a:cubicBezTo>
                  <a:pt x="1111" y="1061"/>
                  <a:pt x="1111" y="1061"/>
                  <a:pt x="1080" y="1067"/>
                </a:cubicBezTo>
                <a:cubicBezTo>
                  <a:pt x="1080" y="1067"/>
                  <a:pt x="1080" y="1067"/>
                  <a:pt x="1080" y="1067"/>
                </a:cubicBezTo>
                <a:cubicBezTo>
                  <a:pt x="1080" y="1073"/>
                  <a:pt x="1080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74" y="1073"/>
                  <a:pt x="1074" y="1073"/>
                  <a:pt x="1074" y="1073"/>
                </a:cubicBezTo>
                <a:cubicBezTo>
                  <a:pt x="1061" y="1073"/>
                  <a:pt x="1061" y="1073"/>
                  <a:pt x="1061" y="1073"/>
                </a:cubicBezTo>
                <a:cubicBezTo>
                  <a:pt x="1048" y="1080"/>
                  <a:pt x="1030" y="1080"/>
                  <a:pt x="1017" y="1080"/>
                </a:cubicBezTo>
                <a:cubicBezTo>
                  <a:pt x="1017" y="1080"/>
                  <a:pt x="1017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30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6" y="1080"/>
                  <a:pt x="1036" y="1080"/>
                  <a:pt x="1036" y="1080"/>
                </a:cubicBezTo>
                <a:cubicBezTo>
                  <a:pt x="1030" y="1080"/>
                  <a:pt x="1030" y="1080"/>
                  <a:pt x="1023" y="1080"/>
                </a:cubicBezTo>
                <a:cubicBezTo>
                  <a:pt x="1017" y="1086"/>
                  <a:pt x="1011" y="1086"/>
                  <a:pt x="998" y="1086"/>
                </a:cubicBezTo>
                <a:cubicBezTo>
                  <a:pt x="992" y="1086"/>
                  <a:pt x="986" y="1086"/>
                  <a:pt x="986" y="1092"/>
                </a:cubicBezTo>
                <a:cubicBezTo>
                  <a:pt x="954" y="1092"/>
                  <a:pt x="948" y="1092"/>
                  <a:pt x="942" y="1092"/>
                </a:cubicBezTo>
                <a:cubicBezTo>
                  <a:pt x="948" y="1092"/>
                  <a:pt x="948" y="1092"/>
                  <a:pt x="954" y="1092"/>
                </a:cubicBezTo>
                <a:cubicBezTo>
                  <a:pt x="954" y="1092"/>
                  <a:pt x="954" y="1092"/>
                  <a:pt x="967" y="1092"/>
                </a:cubicBezTo>
                <a:cubicBezTo>
                  <a:pt x="954" y="1092"/>
                  <a:pt x="948" y="1092"/>
                  <a:pt x="936" y="1099"/>
                </a:cubicBezTo>
                <a:cubicBezTo>
                  <a:pt x="923" y="1099"/>
                  <a:pt x="910" y="1099"/>
                  <a:pt x="892" y="1105"/>
                </a:cubicBezTo>
                <a:cubicBezTo>
                  <a:pt x="892" y="1105"/>
                  <a:pt x="892" y="1105"/>
                  <a:pt x="885" y="1105"/>
                </a:cubicBezTo>
                <a:cubicBezTo>
                  <a:pt x="885" y="1105"/>
                  <a:pt x="885" y="1105"/>
                  <a:pt x="879" y="1105"/>
                </a:cubicBezTo>
                <a:cubicBezTo>
                  <a:pt x="873" y="1105"/>
                  <a:pt x="867" y="1105"/>
                  <a:pt x="860" y="1105"/>
                </a:cubicBezTo>
                <a:cubicBezTo>
                  <a:pt x="873" y="1105"/>
                  <a:pt x="860" y="1105"/>
                  <a:pt x="873" y="1105"/>
                </a:cubicBezTo>
                <a:cubicBezTo>
                  <a:pt x="910" y="1099"/>
                  <a:pt x="923" y="1099"/>
                  <a:pt x="936" y="1099"/>
                </a:cubicBezTo>
                <a:cubicBezTo>
                  <a:pt x="954" y="1092"/>
                  <a:pt x="979" y="1092"/>
                  <a:pt x="998" y="1086"/>
                </a:cubicBezTo>
                <a:cubicBezTo>
                  <a:pt x="998" y="1086"/>
                  <a:pt x="998" y="1086"/>
                  <a:pt x="998" y="1086"/>
                </a:cubicBezTo>
                <a:cubicBezTo>
                  <a:pt x="954" y="1092"/>
                  <a:pt x="879" y="1105"/>
                  <a:pt x="829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823" y="1105"/>
                  <a:pt x="823" y="1105"/>
                  <a:pt x="823" y="1105"/>
                </a:cubicBezTo>
                <a:cubicBezTo>
                  <a:pt x="791" y="1111"/>
                  <a:pt x="766" y="1111"/>
                  <a:pt x="760" y="1111"/>
                </a:cubicBezTo>
                <a:cubicBezTo>
                  <a:pt x="728" y="1111"/>
                  <a:pt x="747" y="1111"/>
                  <a:pt x="760" y="1111"/>
                </a:cubicBezTo>
                <a:cubicBezTo>
                  <a:pt x="760" y="1111"/>
                  <a:pt x="760" y="1111"/>
                  <a:pt x="741" y="1111"/>
                </a:cubicBezTo>
                <a:cubicBezTo>
                  <a:pt x="728" y="1111"/>
                  <a:pt x="666" y="1124"/>
                  <a:pt x="628" y="1111"/>
                </a:cubicBezTo>
                <a:cubicBezTo>
                  <a:pt x="628" y="1111"/>
                  <a:pt x="628" y="1111"/>
                  <a:pt x="609" y="1111"/>
                </a:cubicBezTo>
                <a:cubicBezTo>
                  <a:pt x="653" y="1124"/>
                  <a:pt x="603" y="1124"/>
                  <a:pt x="653" y="1124"/>
                </a:cubicBezTo>
                <a:cubicBezTo>
                  <a:pt x="672" y="1124"/>
                  <a:pt x="697" y="1124"/>
                  <a:pt x="722" y="1124"/>
                </a:cubicBezTo>
                <a:cubicBezTo>
                  <a:pt x="710" y="1124"/>
                  <a:pt x="697" y="1124"/>
                  <a:pt x="691" y="1124"/>
                </a:cubicBezTo>
                <a:cubicBezTo>
                  <a:pt x="659" y="1124"/>
                  <a:pt x="641" y="1124"/>
                  <a:pt x="622" y="1124"/>
                </a:cubicBezTo>
                <a:cubicBezTo>
                  <a:pt x="615" y="1124"/>
                  <a:pt x="615" y="1124"/>
                  <a:pt x="603" y="1124"/>
                </a:cubicBezTo>
                <a:cubicBezTo>
                  <a:pt x="597" y="1124"/>
                  <a:pt x="590" y="1124"/>
                  <a:pt x="584" y="1124"/>
                </a:cubicBezTo>
                <a:cubicBezTo>
                  <a:pt x="603" y="1124"/>
                  <a:pt x="597" y="1124"/>
                  <a:pt x="615" y="1124"/>
                </a:cubicBezTo>
                <a:cubicBezTo>
                  <a:pt x="609" y="1124"/>
                  <a:pt x="603" y="1124"/>
                  <a:pt x="590" y="1124"/>
                </a:cubicBezTo>
                <a:cubicBezTo>
                  <a:pt x="641" y="1130"/>
                  <a:pt x="691" y="1130"/>
                  <a:pt x="741" y="1130"/>
                </a:cubicBezTo>
                <a:cubicBezTo>
                  <a:pt x="735" y="1130"/>
                  <a:pt x="735" y="1130"/>
                  <a:pt x="728" y="1130"/>
                </a:cubicBezTo>
                <a:cubicBezTo>
                  <a:pt x="735" y="1130"/>
                  <a:pt x="735" y="1130"/>
                  <a:pt x="735" y="1130"/>
                </a:cubicBezTo>
                <a:cubicBezTo>
                  <a:pt x="728" y="1130"/>
                  <a:pt x="728" y="1130"/>
                  <a:pt x="722" y="1130"/>
                </a:cubicBezTo>
                <a:cubicBezTo>
                  <a:pt x="747" y="1124"/>
                  <a:pt x="741" y="1124"/>
                  <a:pt x="760" y="1124"/>
                </a:cubicBezTo>
                <a:cubicBezTo>
                  <a:pt x="760" y="1124"/>
                  <a:pt x="760" y="1124"/>
                  <a:pt x="754" y="1124"/>
                </a:cubicBezTo>
                <a:cubicBezTo>
                  <a:pt x="766" y="1124"/>
                  <a:pt x="779" y="1124"/>
                  <a:pt x="797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810" y="1124"/>
                  <a:pt x="816" y="1124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29" y="1111"/>
                  <a:pt x="829" y="1111"/>
                  <a:pt x="829" y="1111"/>
                </a:cubicBezTo>
                <a:cubicBezTo>
                  <a:pt x="879" y="1111"/>
                  <a:pt x="942" y="1105"/>
                  <a:pt x="992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2" y="1092"/>
                  <a:pt x="992" y="1092"/>
                  <a:pt x="992" y="1092"/>
                </a:cubicBezTo>
                <a:cubicBezTo>
                  <a:pt x="1023" y="1086"/>
                  <a:pt x="1042" y="1086"/>
                  <a:pt x="1067" y="1080"/>
                </a:cubicBezTo>
                <a:cubicBezTo>
                  <a:pt x="1055" y="1080"/>
                  <a:pt x="1055" y="1080"/>
                  <a:pt x="1055" y="1080"/>
                </a:cubicBezTo>
                <a:cubicBezTo>
                  <a:pt x="1061" y="1080"/>
                  <a:pt x="1061" y="1080"/>
                  <a:pt x="1061" y="1080"/>
                </a:cubicBezTo>
                <a:cubicBezTo>
                  <a:pt x="1067" y="1080"/>
                  <a:pt x="1067" y="1080"/>
                  <a:pt x="1067" y="1080"/>
                </a:cubicBezTo>
                <a:cubicBezTo>
                  <a:pt x="1080" y="1073"/>
                  <a:pt x="1099" y="1073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11" y="1067"/>
                  <a:pt x="1111" y="1067"/>
                  <a:pt x="1111" y="1067"/>
                </a:cubicBezTo>
                <a:cubicBezTo>
                  <a:pt x="1136" y="1067"/>
                  <a:pt x="1149" y="1061"/>
                  <a:pt x="1161" y="1061"/>
                </a:cubicBezTo>
                <a:cubicBezTo>
                  <a:pt x="1174" y="1054"/>
                  <a:pt x="1187" y="1054"/>
                  <a:pt x="1205" y="1048"/>
                </a:cubicBezTo>
                <a:cubicBezTo>
                  <a:pt x="1205" y="1048"/>
                  <a:pt x="1205" y="1048"/>
                  <a:pt x="1174" y="1054"/>
                </a:cubicBezTo>
                <a:cubicBezTo>
                  <a:pt x="1174" y="1054"/>
                  <a:pt x="1174" y="1054"/>
                  <a:pt x="1180" y="1054"/>
                </a:cubicBezTo>
                <a:cubicBezTo>
                  <a:pt x="1174" y="1054"/>
                  <a:pt x="1168" y="1061"/>
                  <a:pt x="1161" y="1061"/>
                </a:cubicBezTo>
                <a:cubicBezTo>
                  <a:pt x="1161" y="1061"/>
                  <a:pt x="1161" y="1061"/>
                  <a:pt x="1130" y="1067"/>
                </a:cubicBezTo>
                <a:cubicBezTo>
                  <a:pt x="1130" y="1067"/>
                  <a:pt x="1130" y="1067"/>
                  <a:pt x="1092" y="1073"/>
                </a:cubicBezTo>
                <a:cubicBezTo>
                  <a:pt x="1092" y="1073"/>
                  <a:pt x="1092" y="1073"/>
                  <a:pt x="1099" y="1073"/>
                </a:cubicBezTo>
                <a:cubicBezTo>
                  <a:pt x="1074" y="1080"/>
                  <a:pt x="1030" y="1092"/>
                  <a:pt x="1030" y="1092"/>
                </a:cubicBezTo>
                <a:cubicBezTo>
                  <a:pt x="1030" y="1092"/>
                  <a:pt x="1030" y="1092"/>
                  <a:pt x="1023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98" y="1092"/>
                  <a:pt x="998" y="1092"/>
                  <a:pt x="998" y="1092"/>
                </a:cubicBezTo>
                <a:cubicBezTo>
                  <a:pt x="986" y="1099"/>
                  <a:pt x="979" y="1099"/>
                  <a:pt x="967" y="1099"/>
                </a:cubicBezTo>
                <a:cubicBezTo>
                  <a:pt x="948" y="1099"/>
                  <a:pt x="917" y="1105"/>
                  <a:pt x="879" y="1111"/>
                </a:cubicBezTo>
                <a:cubicBezTo>
                  <a:pt x="873" y="1111"/>
                  <a:pt x="873" y="1111"/>
                  <a:pt x="873" y="1111"/>
                </a:cubicBezTo>
                <a:cubicBezTo>
                  <a:pt x="879" y="1111"/>
                  <a:pt x="879" y="1111"/>
                  <a:pt x="879" y="1111"/>
                </a:cubicBezTo>
                <a:cubicBezTo>
                  <a:pt x="867" y="1111"/>
                  <a:pt x="854" y="1111"/>
                  <a:pt x="841" y="1111"/>
                </a:cubicBezTo>
                <a:cubicBezTo>
                  <a:pt x="841" y="1111"/>
                  <a:pt x="841" y="1124"/>
                  <a:pt x="835" y="1124"/>
                </a:cubicBezTo>
                <a:cubicBezTo>
                  <a:pt x="835" y="1124"/>
                  <a:pt x="835" y="1124"/>
                  <a:pt x="829" y="1124"/>
                </a:cubicBezTo>
                <a:cubicBezTo>
                  <a:pt x="829" y="1124"/>
                  <a:pt x="823" y="1124"/>
                  <a:pt x="816" y="1124"/>
                </a:cubicBezTo>
                <a:cubicBezTo>
                  <a:pt x="804" y="1124"/>
                  <a:pt x="804" y="1124"/>
                  <a:pt x="804" y="1124"/>
                </a:cubicBezTo>
                <a:cubicBezTo>
                  <a:pt x="797" y="1124"/>
                  <a:pt x="797" y="1124"/>
                  <a:pt x="797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91" y="1124"/>
                  <a:pt x="791" y="1124"/>
                  <a:pt x="791" y="1124"/>
                </a:cubicBezTo>
                <a:cubicBezTo>
                  <a:pt x="754" y="1130"/>
                  <a:pt x="722" y="1130"/>
                  <a:pt x="691" y="1130"/>
                </a:cubicBezTo>
                <a:cubicBezTo>
                  <a:pt x="672" y="1130"/>
                  <a:pt x="672" y="1130"/>
                  <a:pt x="653" y="1130"/>
                </a:cubicBezTo>
                <a:cubicBezTo>
                  <a:pt x="609" y="1130"/>
                  <a:pt x="584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40" y="1124"/>
                  <a:pt x="528" y="1124"/>
                  <a:pt x="509" y="1124"/>
                </a:cubicBezTo>
                <a:cubicBezTo>
                  <a:pt x="484" y="1111"/>
                  <a:pt x="465" y="1111"/>
                  <a:pt x="440" y="1105"/>
                </a:cubicBezTo>
                <a:cubicBezTo>
                  <a:pt x="408" y="1105"/>
                  <a:pt x="371" y="1092"/>
                  <a:pt x="333" y="1086"/>
                </a:cubicBezTo>
                <a:cubicBezTo>
                  <a:pt x="333" y="1086"/>
                  <a:pt x="333" y="1086"/>
                  <a:pt x="346" y="1086"/>
                </a:cubicBezTo>
                <a:cubicBezTo>
                  <a:pt x="333" y="1086"/>
                  <a:pt x="327" y="1086"/>
                  <a:pt x="321" y="1086"/>
                </a:cubicBezTo>
                <a:cubicBezTo>
                  <a:pt x="308" y="1080"/>
                  <a:pt x="289" y="1073"/>
                  <a:pt x="270" y="1067"/>
                </a:cubicBezTo>
                <a:cubicBezTo>
                  <a:pt x="270" y="1067"/>
                  <a:pt x="270" y="1067"/>
                  <a:pt x="270" y="1067"/>
                </a:cubicBezTo>
                <a:cubicBezTo>
                  <a:pt x="258" y="1061"/>
                  <a:pt x="245" y="1061"/>
                  <a:pt x="226" y="1054"/>
                </a:cubicBezTo>
                <a:cubicBezTo>
                  <a:pt x="226" y="1048"/>
                  <a:pt x="214" y="1048"/>
                  <a:pt x="214" y="1048"/>
                </a:cubicBezTo>
                <a:cubicBezTo>
                  <a:pt x="333" y="1099"/>
                  <a:pt x="465" y="1111"/>
                  <a:pt x="521" y="1124"/>
                </a:cubicBezTo>
                <a:cubicBezTo>
                  <a:pt x="553" y="1124"/>
                  <a:pt x="528" y="1124"/>
                  <a:pt x="572" y="1124"/>
                </a:cubicBezTo>
                <a:cubicBezTo>
                  <a:pt x="565" y="1124"/>
                  <a:pt x="528" y="1124"/>
                  <a:pt x="496" y="1111"/>
                </a:cubicBezTo>
                <a:cubicBezTo>
                  <a:pt x="496" y="1111"/>
                  <a:pt x="503" y="1111"/>
                  <a:pt x="509" y="1111"/>
                </a:cubicBezTo>
                <a:cubicBezTo>
                  <a:pt x="446" y="1105"/>
                  <a:pt x="402" y="1099"/>
                  <a:pt x="364" y="1086"/>
                </a:cubicBezTo>
                <a:cubicBezTo>
                  <a:pt x="364" y="1086"/>
                  <a:pt x="364" y="1086"/>
                  <a:pt x="364" y="1086"/>
                </a:cubicBezTo>
                <a:cubicBezTo>
                  <a:pt x="358" y="1086"/>
                  <a:pt x="358" y="1086"/>
                  <a:pt x="358" y="1086"/>
                </a:cubicBezTo>
                <a:cubicBezTo>
                  <a:pt x="333" y="1080"/>
                  <a:pt x="314" y="1080"/>
                  <a:pt x="295" y="1073"/>
                </a:cubicBezTo>
                <a:cubicBezTo>
                  <a:pt x="295" y="1067"/>
                  <a:pt x="302" y="1073"/>
                  <a:pt x="251" y="1054"/>
                </a:cubicBezTo>
                <a:cubicBezTo>
                  <a:pt x="251" y="1054"/>
                  <a:pt x="251" y="1054"/>
                  <a:pt x="270" y="1061"/>
                </a:cubicBezTo>
                <a:cubicBezTo>
                  <a:pt x="251" y="1054"/>
                  <a:pt x="226" y="1048"/>
                  <a:pt x="208" y="1035"/>
                </a:cubicBezTo>
                <a:cubicBezTo>
                  <a:pt x="208" y="1035"/>
                  <a:pt x="208" y="1035"/>
                  <a:pt x="201" y="1035"/>
                </a:cubicBezTo>
                <a:cubicBezTo>
                  <a:pt x="189" y="1029"/>
                  <a:pt x="189" y="1029"/>
                  <a:pt x="189" y="1029"/>
                </a:cubicBezTo>
                <a:cubicBezTo>
                  <a:pt x="189" y="1029"/>
                  <a:pt x="189" y="1029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9" y="1022"/>
                </a:cubicBezTo>
                <a:cubicBezTo>
                  <a:pt x="189" y="1022"/>
                  <a:pt x="189" y="1022"/>
                  <a:pt x="182" y="1022"/>
                </a:cubicBezTo>
                <a:cubicBezTo>
                  <a:pt x="182" y="1022"/>
                  <a:pt x="182" y="1022"/>
                  <a:pt x="182" y="1022"/>
                </a:cubicBezTo>
                <a:cubicBezTo>
                  <a:pt x="176" y="1016"/>
                  <a:pt x="176" y="1016"/>
                  <a:pt x="176" y="1016"/>
                </a:cubicBezTo>
                <a:cubicBezTo>
                  <a:pt x="176" y="1016"/>
                  <a:pt x="176" y="1022"/>
                  <a:pt x="182" y="1022"/>
                </a:cubicBezTo>
                <a:cubicBezTo>
                  <a:pt x="176" y="1016"/>
                  <a:pt x="170" y="1016"/>
                  <a:pt x="164" y="1003"/>
                </a:cubicBezTo>
                <a:cubicBezTo>
                  <a:pt x="164" y="1003"/>
                  <a:pt x="170" y="1016"/>
                  <a:pt x="176" y="1016"/>
                </a:cubicBezTo>
                <a:cubicBezTo>
                  <a:pt x="170" y="1016"/>
                  <a:pt x="157" y="997"/>
                  <a:pt x="151" y="991"/>
                </a:cubicBezTo>
                <a:cubicBezTo>
                  <a:pt x="107" y="965"/>
                  <a:pt x="95" y="953"/>
                  <a:pt x="95" y="946"/>
                </a:cubicBezTo>
                <a:cubicBezTo>
                  <a:pt x="76" y="921"/>
                  <a:pt x="51" y="876"/>
                  <a:pt x="51" y="826"/>
                </a:cubicBezTo>
                <a:cubicBezTo>
                  <a:pt x="51" y="876"/>
                  <a:pt x="76" y="934"/>
                  <a:pt x="120" y="972"/>
                </a:cubicBezTo>
                <a:cubicBezTo>
                  <a:pt x="107" y="965"/>
                  <a:pt x="107" y="965"/>
                  <a:pt x="107" y="965"/>
                </a:cubicBezTo>
                <a:cubicBezTo>
                  <a:pt x="107" y="972"/>
                  <a:pt x="120" y="972"/>
                  <a:pt x="120" y="972"/>
                </a:cubicBezTo>
                <a:cubicBezTo>
                  <a:pt x="126" y="978"/>
                  <a:pt x="126" y="978"/>
                  <a:pt x="132" y="984"/>
                </a:cubicBezTo>
                <a:cubicBezTo>
                  <a:pt x="132" y="984"/>
                  <a:pt x="132" y="984"/>
                  <a:pt x="139" y="984"/>
                </a:cubicBezTo>
                <a:cubicBezTo>
                  <a:pt x="139" y="984"/>
                  <a:pt x="139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32" y="984"/>
                  <a:pt x="132" y="984"/>
                  <a:pt x="132" y="984"/>
                </a:cubicBezTo>
                <a:cubicBezTo>
                  <a:pt x="126" y="984"/>
                  <a:pt x="126" y="978"/>
                  <a:pt x="120" y="972"/>
                </a:cubicBezTo>
                <a:cubicBezTo>
                  <a:pt x="107" y="965"/>
                  <a:pt x="101" y="959"/>
                  <a:pt x="88" y="946"/>
                </a:cubicBezTo>
                <a:cubicBezTo>
                  <a:pt x="95" y="953"/>
                  <a:pt x="95" y="959"/>
                  <a:pt x="101" y="965"/>
                </a:cubicBezTo>
                <a:cubicBezTo>
                  <a:pt x="95" y="953"/>
                  <a:pt x="82" y="946"/>
                  <a:pt x="82" y="940"/>
                </a:cubicBezTo>
                <a:cubicBezTo>
                  <a:pt x="82" y="940"/>
                  <a:pt x="82" y="940"/>
                  <a:pt x="82" y="934"/>
                </a:cubicBezTo>
                <a:cubicBezTo>
                  <a:pt x="82" y="934"/>
                  <a:pt x="82" y="934"/>
                  <a:pt x="76" y="934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34"/>
                  <a:pt x="82" y="934"/>
                  <a:pt x="82" y="940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7"/>
                  <a:pt x="76" y="927"/>
                </a:cubicBezTo>
                <a:cubicBezTo>
                  <a:pt x="76" y="927"/>
                  <a:pt x="76" y="921"/>
                  <a:pt x="70" y="908"/>
                </a:cubicBezTo>
                <a:cubicBezTo>
                  <a:pt x="63" y="908"/>
                  <a:pt x="63" y="902"/>
                  <a:pt x="63" y="896"/>
                </a:cubicBezTo>
                <a:cubicBezTo>
                  <a:pt x="63" y="896"/>
                  <a:pt x="63" y="896"/>
                  <a:pt x="63" y="896"/>
                </a:cubicBezTo>
                <a:cubicBezTo>
                  <a:pt x="63" y="902"/>
                  <a:pt x="63" y="902"/>
                  <a:pt x="70" y="921"/>
                </a:cubicBezTo>
                <a:cubicBezTo>
                  <a:pt x="70" y="908"/>
                  <a:pt x="70" y="908"/>
                  <a:pt x="70" y="908"/>
                </a:cubicBezTo>
                <a:cubicBezTo>
                  <a:pt x="44" y="851"/>
                  <a:pt x="44" y="832"/>
                  <a:pt x="51" y="781"/>
                </a:cubicBezTo>
                <a:cubicBezTo>
                  <a:pt x="51" y="756"/>
                  <a:pt x="82" y="673"/>
                  <a:pt x="145" y="604"/>
                </a:cubicBezTo>
                <a:cubicBezTo>
                  <a:pt x="157" y="584"/>
                  <a:pt x="176" y="565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195" y="553"/>
                  <a:pt x="195" y="553"/>
                  <a:pt x="195" y="553"/>
                </a:cubicBezTo>
                <a:cubicBezTo>
                  <a:pt x="214" y="534"/>
                  <a:pt x="239" y="508"/>
                  <a:pt x="258" y="496"/>
                </a:cubicBezTo>
                <a:cubicBezTo>
                  <a:pt x="251" y="502"/>
                  <a:pt x="245" y="508"/>
                  <a:pt x="239" y="515"/>
                </a:cubicBezTo>
                <a:cubicBezTo>
                  <a:pt x="239" y="515"/>
                  <a:pt x="239" y="515"/>
                  <a:pt x="226" y="527"/>
                </a:cubicBezTo>
                <a:cubicBezTo>
                  <a:pt x="239" y="508"/>
                  <a:pt x="251" y="502"/>
                  <a:pt x="251" y="502"/>
                </a:cubicBezTo>
                <a:cubicBezTo>
                  <a:pt x="226" y="515"/>
                  <a:pt x="226" y="515"/>
                  <a:pt x="214" y="534"/>
                </a:cubicBezTo>
                <a:cubicBezTo>
                  <a:pt x="258" y="489"/>
                  <a:pt x="295" y="464"/>
                  <a:pt x="321" y="451"/>
                </a:cubicBezTo>
                <a:cubicBezTo>
                  <a:pt x="346" y="438"/>
                  <a:pt x="364" y="426"/>
                  <a:pt x="383" y="419"/>
                </a:cubicBezTo>
                <a:cubicBezTo>
                  <a:pt x="377" y="419"/>
                  <a:pt x="377" y="419"/>
                  <a:pt x="371" y="419"/>
                </a:cubicBezTo>
                <a:cubicBezTo>
                  <a:pt x="377" y="419"/>
                  <a:pt x="371" y="419"/>
                  <a:pt x="383" y="419"/>
                </a:cubicBezTo>
                <a:cubicBezTo>
                  <a:pt x="383" y="419"/>
                  <a:pt x="383" y="419"/>
                  <a:pt x="402" y="400"/>
                </a:cubicBezTo>
                <a:cubicBezTo>
                  <a:pt x="396" y="400"/>
                  <a:pt x="396" y="400"/>
                  <a:pt x="396" y="407"/>
                </a:cubicBezTo>
                <a:cubicBezTo>
                  <a:pt x="377" y="419"/>
                  <a:pt x="371" y="426"/>
                  <a:pt x="346" y="438"/>
                </a:cubicBezTo>
                <a:cubicBezTo>
                  <a:pt x="346" y="438"/>
                  <a:pt x="346" y="438"/>
                  <a:pt x="321" y="451"/>
                </a:cubicBezTo>
                <a:cubicBezTo>
                  <a:pt x="333" y="445"/>
                  <a:pt x="352" y="438"/>
                  <a:pt x="358" y="432"/>
                </a:cubicBezTo>
                <a:cubicBezTo>
                  <a:pt x="358" y="432"/>
                  <a:pt x="358" y="432"/>
                  <a:pt x="352" y="438"/>
                </a:cubicBezTo>
                <a:cubicBezTo>
                  <a:pt x="358" y="432"/>
                  <a:pt x="364" y="432"/>
                  <a:pt x="364" y="426"/>
                </a:cubicBezTo>
                <a:cubicBezTo>
                  <a:pt x="371" y="426"/>
                  <a:pt x="371" y="426"/>
                  <a:pt x="377" y="426"/>
                </a:cubicBezTo>
                <a:cubicBezTo>
                  <a:pt x="371" y="426"/>
                  <a:pt x="371" y="426"/>
                  <a:pt x="371" y="426"/>
                </a:cubicBezTo>
                <a:cubicBezTo>
                  <a:pt x="383" y="419"/>
                  <a:pt x="396" y="407"/>
                  <a:pt x="408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15" y="400"/>
                  <a:pt x="408" y="400"/>
                  <a:pt x="408" y="400"/>
                </a:cubicBezTo>
                <a:cubicBezTo>
                  <a:pt x="421" y="394"/>
                  <a:pt x="433" y="388"/>
                  <a:pt x="440" y="381"/>
                </a:cubicBezTo>
                <a:cubicBezTo>
                  <a:pt x="446" y="375"/>
                  <a:pt x="465" y="375"/>
                  <a:pt x="471" y="369"/>
                </a:cubicBezTo>
                <a:cubicBezTo>
                  <a:pt x="465" y="375"/>
                  <a:pt x="465" y="375"/>
                  <a:pt x="465" y="375"/>
                </a:cubicBezTo>
                <a:cubicBezTo>
                  <a:pt x="484" y="362"/>
                  <a:pt x="484" y="362"/>
                  <a:pt x="484" y="362"/>
                </a:cubicBezTo>
                <a:cubicBezTo>
                  <a:pt x="477" y="369"/>
                  <a:pt x="477" y="369"/>
                  <a:pt x="477" y="369"/>
                </a:cubicBezTo>
                <a:cubicBezTo>
                  <a:pt x="471" y="369"/>
                  <a:pt x="471" y="369"/>
                  <a:pt x="471" y="369"/>
                </a:cubicBezTo>
                <a:cubicBezTo>
                  <a:pt x="471" y="369"/>
                  <a:pt x="471" y="369"/>
                  <a:pt x="465" y="375"/>
                </a:cubicBezTo>
                <a:cubicBezTo>
                  <a:pt x="459" y="375"/>
                  <a:pt x="421" y="388"/>
                  <a:pt x="402" y="400"/>
                </a:cubicBezTo>
                <a:cubicBezTo>
                  <a:pt x="402" y="400"/>
                  <a:pt x="402" y="400"/>
                  <a:pt x="402" y="400"/>
                </a:cubicBezTo>
                <a:cubicBezTo>
                  <a:pt x="402" y="400"/>
                  <a:pt x="402" y="400"/>
                  <a:pt x="408" y="400"/>
                </a:cubicBezTo>
                <a:cubicBezTo>
                  <a:pt x="421" y="388"/>
                  <a:pt x="465" y="369"/>
                  <a:pt x="503" y="356"/>
                </a:cubicBezTo>
                <a:cubicBezTo>
                  <a:pt x="496" y="356"/>
                  <a:pt x="496" y="356"/>
                  <a:pt x="496" y="356"/>
                </a:cubicBezTo>
                <a:cubicBezTo>
                  <a:pt x="490" y="362"/>
                  <a:pt x="484" y="362"/>
                  <a:pt x="477" y="369"/>
                </a:cubicBezTo>
                <a:cubicBezTo>
                  <a:pt x="490" y="362"/>
                  <a:pt x="509" y="350"/>
                  <a:pt x="534" y="343"/>
                </a:cubicBezTo>
                <a:cubicBezTo>
                  <a:pt x="534" y="343"/>
                  <a:pt x="534" y="343"/>
                  <a:pt x="540" y="343"/>
                </a:cubicBezTo>
                <a:cubicBezTo>
                  <a:pt x="534" y="343"/>
                  <a:pt x="534" y="343"/>
                  <a:pt x="534" y="343"/>
                </a:cubicBezTo>
                <a:cubicBezTo>
                  <a:pt x="546" y="337"/>
                  <a:pt x="565" y="331"/>
                  <a:pt x="584" y="324"/>
                </a:cubicBezTo>
                <a:cubicBezTo>
                  <a:pt x="597" y="324"/>
                  <a:pt x="584" y="324"/>
                  <a:pt x="609" y="318"/>
                </a:cubicBezTo>
                <a:cubicBezTo>
                  <a:pt x="609" y="318"/>
                  <a:pt x="609" y="318"/>
                  <a:pt x="590" y="324"/>
                </a:cubicBezTo>
                <a:cubicBezTo>
                  <a:pt x="590" y="324"/>
                  <a:pt x="590" y="324"/>
                  <a:pt x="590" y="324"/>
                </a:cubicBezTo>
                <a:cubicBezTo>
                  <a:pt x="578" y="324"/>
                  <a:pt x="565" y="331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53" y="337"/>
                  <a:pt x="553" y="337"/>
                  <a:pt x="553" y="337"/>
                </a:cubicBezTo>
                <a:cubicBezTo>
                  <a:pt x="546" y="337"/>
                  <a:pt x="546" y="337"/>
                  <a:pt x="546" y="337"/>
                </a:cubicBezTo>
                <a:cubicBezTo>
                  <a:pt x="546" y="337"/>
                  <a:pt x="546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540" y="337"/>
                  <a:pt x="540" y="337"/>
                  <a:pt x="540" y="337"/>
                </a:cubicBezTo>
                <a:cubicBezTo>
                  <a:pt x="603" y="318"/>
                  <a:pt x="666" y="286"/>
                  <a:pt x="666" y="292"/>
                </a:cubicBezTo>
                <a:cubicBezTo>
                  <a:pt x="672" y="286"/>
                  <a:pt x="697" y="280"/>
                  <a:pt x="703" y="280"/>
                </a:cubicBezTo>
                <a:cubicBezTo>
                  <a:pt x="760" y="267"/>
                  <a:pt x="779" y="261"/>
                  <a:pt x="854" y="248"/>
                </a:cubicBezTo>
                <a:cubicBezTo>
                  <a:pt x="854" y="248"/>
                  <a:pt x="854" y="248"/>
                  <a:pt x="829" y="254"/>
                </a:cubicBezTo>
                <a:cubicBezTo>
                  <a:pt x="829" y="254"/>
                  <a:pt x="829" y="254"/>
                  <a:pt x="829" y="248"/>
                </a:cubicBezTo>
                <a:cubicBezTo>
                  <a:pt x="860" y="248"/>
                  <a:pt x="854" y="248"/>
                  <a:pt x="860" y="248"/>
                </a:cubicBezTo>
                <a:cubicBezTo>
                  <a:pt x="860" y="248"/>
                  <a:pt x="860" y="248"/>
                  <a:pt x="885" y="242"/>
                </a:cubicBezTo>
                <a:cubicBezTo>
                  <a:pt x="892" y="242"/>
                  <a:pt x="892" y="242"/>
                  <a:pt x="892" y="242"/>
                </a:cubicBezTo>
                <a:cubicBezTo>
                  <a:pt x="910" y="242"/>
                  <a:pt x="923" y="242"/>
                  <a:pt x="948" y="235"/>
                </a:cubicBezTo>
                <a:cubicBezTo>
                  <a:pt x="948" y="235"/>
                  <a:pt x="942" y="235"/>
                  <a:pt x="961" y="235"/>
                </a:cubicBezTo>
                <a:cubicBezTo>
                  <a:pt x="961" y="235"/>
                  <a:pt x="961" y="235"/>
                  <a:pt x="961" y="235"/>
                </a:cubicBezTo>
                <a:cubicBezTo>
                  <a:pt x="979" y="229"/>
                  <a:pt x="998" y="229"/>
                  <a:pt x="1030" y="229"/>
                </a:cubicBezTo>
                <a:cubicBezTo>
                  <a:pt x="1030" y="229"/>
                  <a:pt x="1030" y="229"/>
                  <a:pt x="1017" y="229"/>
                </a:cubicBezTo>
                <a:cubicBezTo>
                  <a:pt x="1036" y="229"/>
                  <a:pt x="1055" y="229"/>
                  <a:pt x="1067" y="229"/>
                </a:cubicBezTo>
                <a:cubicBezTo>
                  <a:pt x="1080" y="229"/>
                  <a:pt x="1074" y="229"/>
                  <a:pt x="1086" y="229"/>
                </a:cubicBezTo>
                <a:cubicBezTo>
                  <a:pt x="1086" y="229"/>
                  <a:pt x="1086" y="229"/>
                  <a:pt x="1099" y="223"/>
                </a:cubicBezTo>
                <a:cubicBezTo>
                  <a:pt x="1105" y="223"/>
                  <a:pt x="1105" y="223"/>
                  <a:pt x="1105" y="223"/>
                </a:cubicBezTo>
                <a:cubicBezTo>
                  <a:pt x="1111" y="223"/>
                  <a:pt x="1111" y="223"/>
                  <a:pt x="1118" y="223"/>
                </a:cubicBezTo>
                <a:cubicBezTo>
                  <a:pt x="1130" y="223"/>
                  <a:pt x="1118" y="223"/>
                  <a:pt x="1143" y="223"/>
                </a:cubicBezTo>
                <a:cubicBezTo>
                  <a:pt x="1130" y="223"/>
                  <a:pt x="1055" y="223"/>
                  <a:pt x="1011" y="229"/>
                </a:cubicBezTo>
                <a:cubicBezTo>
                  <a:pt x="1011" y="229"/>
                  <a:pt x="1011" y="229"/>
                  <a:pt x="1011" y="229"/>
                </a:cubicBezTo>
                <a:cubicBezTo>
                  <a:pt x="1030" y="229"/>
                  <a:pt x="1042" y="223"/>
                  <a:pt x="1055" y="223"/>
                </a:cubicBezTo>
                <a:cubicBezTo>
                  <a:pt x="1061" y="223"/>
                  <a:pt x="1061" y="223"/>
                  <a:pt x="1067" y="223"/>
                </a:cubicBezTo>
                <a:cubicBezTo>
                  <a:pt x="1048" y="223"/>
                  <a:pt x="1023" y="223"/>
                  <a:pt x="998" y="229"/>
                </a:cubicBezTo>
                <a:cubicBezTo>
                  <a:pt x="998" y="229"/>
                  <a:pt x="992" y="223"/>
                  <a:pt x="1023" y="223"/>
                </a:cubicBezTo>
                <a:cubicBezTo>
                  <a:pt x="1011" y="223"/>
                  <a:pt x="992" y="223"/>
                  <a:pt x="992" y="223"/>
                </a:cubicBezTo>
                <a:cubicBezTo>
                  <a:pt x="992" y="223"/>
                  <a:pt x="992" y="223"/>
                  <a:pt x="1017" y="223"/>
                </a:cubicBezTo>
                <a:cubicBezTo>
                  <a:pt x="998" y="223"/>
                  <a:pt x="986" y="223"/>
                  <a:pt x="986" y="223"/>
                </a:cubicBezTo>
                <a:cubicBezTo>
                  <a:pt x="992" y="223"/>
                  <a:pt x="992" y="223"/>
                  <a:pt x="992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86" y="223"/>
                  <a:pt x="986" y="223"/>
                </a:cubicBezTo>
                <a:cubicBezTo>
                  <a:pt x="986" y="223"/>
                  <a:pt x="979" y="223"/>
                  <a:pt x="973" y="223"/>
                </a:cubicBezTo>
                <a:cubicBezTo>
                  <a:pt x="979" y="223"/>
                  <a:pt x="979" y="223"/>
                  <a:pt x="998" y="216"/>
                </a:cubicBezTo>
                <a:cubicBezTo>
                  <a:pt x="986" y="223"/>
                  <a:pt x="973" y="223"/>
                  <a:pt x="961" y="223"/>
                </a:cubicBezTo>
                <a:cubicBezTo>
                  <a:pt x="973" y="223"/>
                  <a:pt x="979" y="216"/>
                  <a:pt x="992" y="216"/>
                </a:cubicBezTo>
                <a:cubicBezTo>
                  <a:pt x="992" y="216"/>
                  <a:pt x="992" y="216"/>
                  <a:pt x="1017" y="216"/>
                </a:cubicBezTo>
                <a:cubicBezTo>
                  <a:pt x="1030" y="216"/>
                  <a:pt x="1011" y="216"/>
                  <a:pt x="998" y="216"/>
                </a:cubicBezTo>
                <a:cubicBezTo>
                  <a:pt x="998" y="216"/>
                  <a:pt x="998" y="216"/>
                  <a:pt x="1011" y="216"/>
                </a:cubicBezTo>
                <a:cubicBezTo>
                  <a:pt x="1011" y="216"/>
                  <a:pt x="1011" y="216"/>
                  <a:pt x="986" y="216"/>
                </a:cubicBezTo>
                <a:cubicBezTo>
                  <a:pt x="992" y="216"/>
                  <a:pt x="998" y="216"/>
                  <a:pt x="1017" y="216"/>
                </a:cubicBezTo>
                <a:cubicBezTo>
                  <a:pt x="1017" y="216"/>
                  <a:pt x="1011" y="216"/>
                  <a:pt x="1030" y="216"/>
                </a:cubicBezTo>
                <a:cubicBezTo>
                  <a:pt x="1023" y="216"/>
                  <a:pt x="1023" y="216"/>
                  <a:pt x="1023" y="216"/>
                </a:cubicBezTo>
                <a:cubicBezTo>
                  <a:pt x="1023" y="216"/>
                  <a:pt x="1023" y="216"/>
                  <a:pt x="1030" y="204"/>
                </a:cubicBezTo>
                <a:cubicBezTo>
                  <a:pt x="979" y="216"/>
                  <a:pt x="973" y="216"/>
                  <a:pt x="973" y="216"/>
                </a:cubicBezTo>
                <a:cubicBezTo>
                  <a:pt x="986" y="216"/>
                  <a:pt x="986" y="216"/>
                  <a:pt x="986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54" y="216"/>
                  <a:pt x="942" y="223"/>
                  <a:pt x="929" y="223"/>
                </a:cubicBezTo>
                <a:cubicBezTo>
                  <a:pt x="929" y="223"/>
                  <a:pt x="948" y="223"/>
                  <a:pt x="961" y="216"/>
                </a:cubicBezTo>
                <a:cubicBezTo>
                  <a:pt x="967" y="216"/>
                  <a:pt x="967" y="216"/>
                  <a:pt x="973" y="216"/>
                </a:cubicBezTo>
                <a:cubicBezTo>
                  <a:pt x="973" y="216"/>
                  <a:pt x="973" y="216"/>
                  <a:pt x="967" y="216"/>
                </a:cubicBezTo>
                <a:cubicBezTo>
                  <a:pt x="973" y="216"/>
                  <a:pt x="973" y="216"/>
                  <a:pt x="973" y="216"/>
                </a:cubicBezTo>
                <a:cubicBezTo>
                  <a:pt x="967" y="223"/>
                  <a:pt x="954" y="223"/>
                  <a:pt x="942" y="223"/>
                </a:cubicBezTo>
                <a:cubicBezTo>
                  <a:pt x="954" y="223"/>
                  <a:pt x="961" y="223"/>
                  <a:pt x="967" y="216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2" y="223"/>
                  <a:pt x="942" y="223"/>
                  <a:pt x="936" y="223"/>
                </a:cubicBezTo>
                <a:cubicBezTo>
                  <a:pt x="923" y="223"/>
                  <a:pt x="910" y="229"/>
                  <a:pt x="885" y="229"/>
                </a:cubicBezTo>
                <a:cubicBezTo>
                  <a:pt x="892" y="229"/>
                  <a:pt x="892" y="229"/>
                  <a:pt x="892" y="229"/>
                </a:cubicBezTo>
                <a:cubicBezTo>
                  <a:pt x="904" y="229"/>
                  <a:pt x="904" y="223"/>
                  <a:pt x="904" y="223"/>
                </a:cubicBezTo>
                <a:cubicBezTo>
                  <a:pt x="904" y="223"/>
                  <a:pt x="904" y="223"/>
                  <a:pt x="910" y="223"/>
                </a:cubicBezTo>
                <a:cubicBezTo>
                  <a:pt x="917" y="223"/>
                  <a:pt x="917" y="223"/>
                  <a:pt x="917" y="223"/>
                </a:cubicBezTo>
                <a:cubicBezTo>
                  <a:pt x="910" y="223"/>
                  <a:pt x="910" y="223"/>
                  <a:pt x="910" y="223"/>
                </a:cubicBezTo>
                <a:cubicBezTo>
                  <a:pt x="904" y="223"/>
                  <a:pt x="892" y="223"/>
                  <a:pt x="885" y="229"/>
                </a:cubicBezTo>
                <a:cubicBezTo>
                  <a:pt x="885" y="229"/>
                  <a:pt x="885" y="229"/>
                  <a:pt x="879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73" y="229"/>
                  <a:pt x="873" y="229"/>
                  <a:pt x="873" y="229"/>
                </a:cubicBezTo>
                <a:cubicBezTo>
                  <a:pt x="867" y="229"/>
                  <a:pt x="860" y="229"/>
                  <a:pt x="860" y="229"/>
                </a:cubicBezTo>
                <a:cubicBezTo>
                  <a:pt x="854" y="229"/>
                  <a:pt x="841" y="235"/>
                  <a:pt x="835" y="235"/>
                </a:cubicBezTo>
                <a:cubicBezTo>
                  <a:pt x="841" y="235"/>
                  <a:pt x="848" y="235"/>
                  <a:pt x="854" y="229"/>
                </a:cubicBezTo>
                <a:cubicBezTo>
                  <a:pt x="854" y="229"/>
                  <a:pt x="848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35" y="235"/>
                  <a:pt x="835" y="235"/>
                  <a:pt x="835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29" y="235"/>
                </a:cubicBezTo>
                <a:cubicBezTo>
                  <a:pt x="829" y="235"/>
                  <a:pt x="829" y="235"/>
                  <a:pt x="810" y="242"/>
                </a:cubicBezTo>
                <a:cubicBezTo>
                  <a:pt x="797" y="242"/>
                  <a:pt x="791" y="242"/>
                  <a:pt x="779" y="242"/>
                </a:cubicBezTo>
                <a:cubicBezTo>
                  <a:pt x="791" y="242"/>
                  <a:pt x="791" y="242"/>
                  <a:pt x="797" y="242"/>
                </a:cubicBezTo>
                <a:cubicBezTo>
                  <a:pt x="797" y="242"/>
                  <a:pt x="797" y="242"/>
                  <a:pt x="791" y="242"/>
                </a:cubicBezTo>
                <a:cubicBezTo>
                  <a:pt x="791" y="242"/>
                  <a:pt x="791" y="242"/>
                  <a:pt x="772" y="248"/>
                </a:cubicBezTo>
                <a:cubicBezTo>
                  <a:pt x="772" y="248"/>
                  <a:pt x="772" y="248"/>
                  <a:pt x="760" y="248"/>
                </a:cubicBezTo>
                <a:cubicBezTo>
                  <a:pt x="735" y="254"/>
                  <a:pt x="710" y="261"/>
                  <a:pt x="685" y="267"/>
                </a:cubicBezTo>
                <a:cubicBezTo>
                  <a:pt x="641" y="280"/>
                  <a:pt x="622" y="286"/>
                  <a:pt x="609" y="292"/>
                </a:cubicBezTo>
                <a:cubicBezTo>
                  <a:pt x="622" y="286"/>
                  <a:pt x="615" y="286"/>
                  <a:pt x="647" y="280"/>
                </a:cubicBezTo>
                <a:cubicBezTo>
                  <a:pt x="641" y="280"/>
                  <a:pt x="634" y="280"/>
                  <a:pt x="628" y="280"/>
                </a:cubicBezTo>
                <a:cubicBezTo>
                  <a:pt x="647" y="280"/>
                  <a:pt x="659" y="273"/>
                  <a:pt x="672" y="267"/>
                </a:cubicBezTo>
                <a:cubicBezTo>
                  <a:pt x="672" y="267"/>
                  <a:pt x="672" y="267"/>
                  <a:pt x="672" y="267"/>
                </a:cubicBezTo>
                <a:cubicBezTo>
                  <a:pt x="659" y="273"/>
                  <a:pt x="647" y="273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41" y="273"/>
                  <a:pt x="653" y="273"/>
                  <a:pt x="659" y="267"/>
                </a:cubicBezTo>
                <a:cubicBezTo>
                  <a:pt x="666" y="267"/>
                  <a:pt x="666" y="267"/>
                  <a:pt x="666" y="267"/>
                </a:cubicBezTo>
                <a:cubicBezTo>
                  <a:pt x="697" y="261"/>
                  <a:pt x="722" y="254"/>
                  <a:pt x="747" y="248"/>
                </a:cubicBezTo>
                <a:cubicBezTo>
                  <a:pt x="741" y="248"/>
                  <a:pt x="728" y="254"/>
                  <a:pt x="697" y="261"/>
                </a:cubicBezTo>
                <a:cubicBezTo>
                  <a:pt x="697" y="261"/>
                  <a:pt x="697" y="261"/>
                  <a:pt x="697" y="261"/>
                </a:cubicBezTo>
                <a:cubicBezTo>
                  <a:pt x="722" y="254"/>
                  <a:pt x="747" y="248"/>
                  <a:pt x="760" y="242"/>
                </a:cubicBezTo>
                <a:cubicBezTo>
                  <a:pt x="791" y="242"/>
                  <a:pt x="779" y="242"/>
                  <a:pt x="779" y="242"/>
                </a:cubicBezTo>
                <a:cubicBezTo>
                  <a:pt x="791" y="235"/>
                  <a:pt x="797" y="235"/>
                  <a:pt x="804" y="235"/>
                </a:cubicBezTo>
                <a:cubicBezTo>
                  <a:pt x="810" y="235"/>
                  <a:pt x="810" y="235"/>
                  <a:pt x="810" y="235"/>
                </a:cubicBezTo>
                <a:cubicBezTo>
                  <a:pt x="797" y="235"/>
                  <a:pt x="797" y="235"/>
                  <a:pt x="791" y="242"/>
                </a:cubicBezTo>
                <a:cubicBezTo>
                  <a:pt x="804" y="235"/>
                  <a:pt x="804" y="235"/>
                  <a:pt x="810" y="235"/>
                </a:cubicBezTo>
                <a:cubicBezTo>
                  <a:pt x="816" y="235"/>
                  <a:pt x="816" y="235"/>
                  <a:pt x="816" y="235"/>
                </a:cubicBezTo>
                <a:cubicBezTo>
                  <a:pt x="841" y="229"/>
                  <a:pt x="841" y="229"/>
                  <a:pt x="841" y="229"/>
                </a:cubicBezTo>
                <a:cubicBezTo>
                  <a:pt x="835" y="229"/>
                  <a:pt x="835" y="229"/>
                  <a:pt x="835" y="229"/>
                </a:cubicBezTo>
                <a:cubicBezTo>
                  <a:pt x="854" y="223"/>
                  <a:pt x="860" y="223"/>
                  <a:pt x="923" y="216"/>
                </a:cubicBezTo>
                <a:cubicBezTo>
                  <a:pt x="923" y="216"/>
                  <a:pt x="923" y="216"/>
                  <a:pt x="929" y="216"/>
                </a:cubicBezTo>
                <a:cubicBezTo>
                  <a:pt x="910" y="216"/>
                  <a:pt x="892" y="216"/>
                  <a:pt x="904" y="216"/>
                </a:cubicBezTo>
                <a:cubicBezTo>
                  <a:pt x="904" y="216"/>
                  <a:pt x="904" y="216"/>
                  <a:pt x="892" y="216"/>
                </a:cubicBezTo>
                <a:cubicBezTo>
                  <a:pt x="910" y="216"/>
                  <a:pt x="917" y="216"/>
                  <a:pt x="923" y="216"/>
                </a:cubicBezTo>
                <a:cubicBezTo>
                  <a:pt x="923" y="216"/>
                  <a:pt x="923" y="216"/>
                  <a:pt x="923" y="216"/>
                </a:cubicBezTo>
                <a:cubicBezTo>
                  <a:pt x="910" y="216"/>
                  <a:pt x="892" y="216"/>
                  <a:pt x="879" y="223"/>
                </a:cubicBezTo>
                <a:cubicBezTo>
                  <a:pt x="848" y="223"/>
                  <a:pt x="810" y="235"/>
                  <a:pt x="772" y="242"/>
                </a:cubicBezTo>
                <a:cubicBezTo>
                  <a:pt x="772" y="235"/>
                  <a:pt x="779" y="235"/>
                  <a:pt x="779" y="235"/>
                </a:cubicBezTo>
                <a:cubicBezTo>
                  <a:pt x="772" y="242"/>
                  <a:pt x="766" y="242"/>
                  <a:pt x="760" y="242"/>
                </a:cubicBezTo>
                <a:cubicBezTo>
                  <a:pt x="754" y="242"/>
                  <a:pt x="747" y="248"/>
                  <a:pt x="741" y="248"/>
                </a:cubicBezTo>
                <a:cubicBezTo>
                  <a:pt x="716" y="254"/>
                  <a:pt x="716" y="254"/>
                  <a:pt x="703" y="254"/>
                </a:cubicBezTo>
                <a:cubicBezTo>
                  <a:pt x="710" y="254"/>
                  <a:pt x="710" y="254"/>
                  <a:pt x="716" y="254"/>
                </a:cubicBezTo>
                <a:cubicBezTo>
                  <a:pt x="710" y="254"/>
                  <a:pt x="697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91" y="261"/>
                  <a:pt x="691" y="261"/>
                  <a:pt x="691" y="261"/>
                </a:cubicBezTo>
                <a:cubicBezTo>
                  <a:pt x="685" y="261"/>
                  <a:pt x="672" y="261"/>
                  <a:pt x="666" y="267"/>
                </a:cubicBezTo>
                <a:cubicBezTo>
                  <a:pt x="666" y="267"/>
                  <a:pt x="666" y="267"/>
                  <a:pt x="659" y="267"/>
                </a:cubicBezTo>
                <a:cubicBezTo>
                  <a:pt x="659" y="267"/>
                  <a:pt x="659" y="267"/>
                  <a:pt x="653" y="267"/>
                </a:cubicBezTo>
                <a:cubicBezTo>
                  <a:pt x="634" y="273"/>
                  <a:pt x="609" y="286"/>
                  <a:pt x="584" y="292"/>
                </a:cubicBezTo>
                <a:cubicBezTo>
                  <a:pt x="578" y="292"/>
                  <a:pt x="578" y="292"/>
                  <a:pt x="578" y="292"/>
                </a:cubicBezTo>
                <a:cubicBezTo>
                  <a:pt x="572" y="299"/>
                  <a:pt x="572" y="299"/>
                  <a:pt x="572" y="299"/>
                </a:cubicBezTo>
                <a:cubicBezTo>
                  <a:pt x="540" y="305"/>
                  <a:pt x="515" y="324"/>
                  <a:pt x="490" y="331"/>
                </a:cubicBezTo>
                <a:cubicBezTo>
                  <a:pt x="440" y="350"/>
                  <a:pt x="402" y="375"/>
                  <a:pt x="364" y="394"/>
                </a:cubicBezTo>
                <a:cubicBezTo>
                  <a:pt x="364" y="394"/>
                  <a:pt x="364" y="394"/>
                  <a:pt x="364" y="394"/>
                </a:cubicBezTo>
                <a:cubicBezTo>
                  <a:pt x="358" y="394"/>
                  <a:pt x="358" y="400"/>
                  <a:pt x="352" y="400"/>
                </a:cubicBezTo>
                <a:cubicBezTo>
                  <a:pt x="346" y="407"/>
                  <a:pt x="352" y="400"/>
                  <a:pt x="346" y="407"/>
                </a:cubicBezTo>
                <a:cubicBezTo>
                  <a:pt x="352" y="400"/>
                  <a:pt x="352" y="400"/>
                  <a:pt x="352" y="400"/>
                </a:cubicBezTo>
                <a:cubicBezTo>
                  <a:pt x="314" y="426"/>
                  <a:pt x="289" y="438"/>
                  <a:pt x="270" y="458"/>
                </a:cubicBezTo>
                <a:cubicBezTo>
                  <a:pt x="264" y="458"/>
                  <a:pt x="264" y="458"/>
                  <a:pt x="264" y="458"/>
                </a:cubicBezTo>
                <a:cubicBezTo>
                  <a:pt x="283" y="445"/>
                  <a:pt x="289" y="445"/>
                  <a:pt x="321" y="419"/>
                </a:cubicBezTo>
                <a:cubicBezTo>
                  <a:pt x="314" y="426"/>
                  <a:pt x="314" y="426"/>
                  <a:pt x="308" y="426"/>
                </a:cubicBezTo>
                <a:cubicBezTo>
                  <a:pt x="314" y="426"/>
                  <a:pt x="314" y="426"/>
                  <a:pt x="321" y="419"/>
                </a:cubicBezTo>
                <a:cubicBezTo>
                  <a:pt x="321" y="419"/>
                  <a:pt x="327" y="419"/>
                  <a:pt x="327" y="407"/>
                </a:cubicBezTo>
                <a:cubicBezTo>
                  <a:pt x="346" y="407"/>
                  <a:pt x="352" y="400"/>
                  <a:pt x="364" y="394"/>
                </a:cubicBezTo>
                <a:cubicBezTo>
                  <a:pt x="364" y="394"/>
                  <a:pt x="364" y="394"/>
                  <a:pt x="364" y="388"/>
                </a:cubicBezTo>
                <a:cubicBezTo>
                  <a:pt x="383" y="381"/>
                  <a:pt x="396" y="375"/>
                  <a:pt x="408" y="369"/>
                </a:cubicBezTo>
                <a:cubicBezTo>
                  <a:pt x="415" y="369"/>
                  <a:pt x="415" y="362"/>
                  <a:pt x="415" y="362"/>
                </a:cubicBezTo>
                <a:cubicBezTo>
                  <a:pt x="440" y="350"/>
                  <a:pt x="471" y="343"/>
                  <a:pt x="490" y="331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503" y="324"/>
                  <a:pt x="503" y="324"/>
                  <a:pt x="503" y="324"/>
                </a:cubicBezTo>
                <a:cubicBezTo>
                  <a:pt x="509" y="324"/>
                  <a:pt x="509" y="324"/>
                  <a:pt x="509" y="324"/>
                </a:cubicBezTo>
                <a:cubicBezTo>
                  <a:pt x="509" y="324"/>
                  <a:pt x="509" y="324"/>
                  <a:pt x="503" y="324"/>
                </a:cubicBezTo>
                <a:cubicBezTo>
                  <a:pt x="509" y="324"/>
                  <a:pt x="509" y="324"/>
                  <a:pt x="515" y="318"/>
                </a:cubicBezTo>
                <a:cubicBezTo>
                  <a:pt x="515" y="324"/>
                  <a:pt x="515" y="324"/>
                  <a:pt x="509" y="324"/>
                </a:cubicBezTo>
                <a:cubicBezTo>
                  <a:pt x="515" y="318"/>
                  <a:pt x="515" y="318"/>
                  <a:pt x="521" y="318"/>
                </a:cubicBezTo>
                <a:cubicBezTo>
                  <a:pt x="528" y="318"/>
                  <a:pt x="534" y="305"/>
                  <a:pt x="540" y="305"/>
                </a:cubicBezTo>
                <a:cubicBezTo>
                  <a:pt x="572" y="292"/>
                  <a:pt x="578" y="292"/>
                  <a:pt x="584" y="292"/>
                </a:cubicBezTo>
                <a:cubicBezTo>
                  <a:pt x="584" y="292"/>
                  <a:pt x="584" y="292"/>
                  <a:pt x="597" y="286"/>
                </a:cubicBezTo>
                <a:cubicBezTo>
                  <a:pt x="609" y="280"/>
                  <a:pt x="609" y="280"/>
                  <a:pt x="628" y="273"/>
                </a:cubicBezTo>
                <a:cubicBezTo>
                  <a:pt x="666" y="261"/>
                  <a:pt x="722" y="248"/>
                  <a:pt x="747" y="242"/>
                </a:cubicBezTo>
                <a:cubicBezTo>
                  <a:pt x="816" y="229"/>
                  <a:pt x="766" y="235"/>
                  <a:pt x="860" y="223"/>
                </a:cubicBezTo>
                <a:cubicBezTo>
                  <a:pt x="848" y="223"/>
                  <a:pt x="835" y="229"/>
                  <a:pt x="816" y="229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16" y="229"/>
                  <a:pt x="816" y="229"/>
                  <a:pt x="810" y="229"/>
                </a:cubicBezTo>
                <a:cubicBezTo>
                  <a:pt x="810" y="229"/>
                  <a:pt x="804" y="229"/>
                  <a:pt x="797" y="229"/>
                </a:cubicBezTo>
                <a:cubicBezTo>
                  <a:pt x="804" y="229"/>
                  <a:pt x="810" y="229"/>
                  <a:pt x="816" y="223"/>
                </a:cubicBezTo>
                <a:cubicBezTo>
                  <a:pt x="816" y="229"/>
                  <a:pt x="816" y="229"/>
                  <a:pt x="816" y="229"/>
                </a:cubicBezTo>
                <a:cubicBezTo>
                  <a:pt x="823" y="223"/>
                  <a:pt x="823" y="223"/>
                  <a:pt x="823" y="223"/>
                </a:cubicBezTo>
                <a:cubicBezTo>
                  <a:pt x="841" y="223"/>
                  <a:pt x="873" y="216"/>
                  <a:pt x="904" y="204"/>
                </a:cubicBezTo>
                <a:cubicBezTo>
                  <a:pt x="879" y="216"/>
                  <a:pt x="860" y="216"/>
                  <a:pt x="841" y="223"/>
                </a:cubicBezTo>
                <a:cubicBezTo>
                  <a:pt x="848" y="216"/>
                  <a:pt x="848" y="216"/>
                  <a:pt x="848" y="216"/>
                </a:cubicBezTo>
                <a:cubicBezTo>
                  <a:pt x="848" y="216"/>
                  <a:pt x="848" y="216"/>
                  <a:pt x="841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35" y="223"/>
                  <a:pt x="835" y="223"/>
                  <a:pt x="835" y="223"/>
                </a:cubicBezTo>
                <a:cubicBezTo>
                  <a:pt x="816" y="223"/>
                  <a:pt x="804" y="229"/>
                  <a:pt x="791" y="229"/>
                </a:cubicBezTo>
                <a:cubicBezTo>
                  <a:pt x="791" y="229"/>
                  <a:pt x="791" y="229"/>
                  <a:pt x="791" y="229"/>
                </a:cubicBezTo>
                <a:cubicBezTo>
                  <a:pt x="779" y="229"/>
                  <a:pt x="779" y="229"/>
                  <a:pt x="779" y="229"/>
                </a:cubicBezTo>
                <a:cubicBezTo>
                  <a:pt x="772" y="235"/>
                  <a:pt x="772" y="235"/>
                  <a:pt x="766" y="235"/>
                </a:cubicBezTo>
                <a:cubicBezTo>
                  <a:pt x="779" y="229"/>
                  <a:pt x="797" y="229"/>
                  <a:pt x="829" y="223"/>
                </a:cubicBezTo>
                <a:cubicBezTo>
                  <a:pt x="823" y="223"/>
                  <a:pt x="835" y="216"/>
                  <a:pt x="804" y="229"/>
                </a:cubicBezTo>
                <a:cubicBezTo>
                  <a:pt x="760" y="235"/>
                  <a:pt x="747" y="235"/>
                  <a:pt x="747" y="235"/>
                </a:cubicBezTo>
                <a:cubicBezTo>
                  <a:pt x="716" y="242"/>
                  <a:pt x="728" y="242"/>
                  <a:pt x="728" y="242"/>
                </a:cubicBezTo>
                <a:cubicBezTo>
                  <a:pt x="716" y="242"/>
                  <a:pt x="622" y="273"/>
                  <a:pt x="597" y="280"/>
                </a:cubicBezTo>
                <a:cubicBezTo>
                  <a:pt x="546" y="299"/>
                  <a:pt x="528" y="305"/>
                  <a:pt x="553" y="299"/>
                </a:cubicBezTo>
                <a:cubicBezTo>
                  <a:pt x="553" y="299"/>
                  <a:pt x="553" y="299"/>
                  <a:pt x="521" y="305"/>
                </a:cubicBezTo>
                <a:cubicBezTo>
                  <a:pt x="509" y="318"/>
                  <a:pt x="503" y="324"/>
                  <a:pt x="496" y="324"/>
                </a:cubicBezTo>
                <a:cubicBezTo>
                  <a:pt x="496" y="324"/>
                  <a:pt x="496" y="324"/>
                  <a:pt x="496" y="324"/>
                </a:cubicBezTo>
                <a:cubicBezTo>
                  <a:pt x="484" y="331"/>
                  <a:pt x="484" y="331"/>
                  <a:pt x="484" y="331"/>
                </a:cubicBezTo>
                <a:cubicBezTo>
                  <a:pt x="465" y="337"/>
                  <a:pt x="433" y="350"/>
                  <a:pt x="352" y="388"/>
                </a:cubicBezTo>
                <a:cubicBezTo>
                  <a:pt x="352" y="388"/>
                  <a:pt x="352" y="388"/>
                  <a:pt x="364" y="381"/>
                </a:cubicBezTo>
                <a:cubicBezTo>
                  <a:pt x="396" y="369"/>
                  <a:pt x="446" y="343"/>
                  <a:pt x="490" y="324"/>
                </a:cubicBezTo>
                <a:cubicBezTo>
                  <a:pt x="509" y="318"/>
                  <a:pt x="521" y="305"/>
                  <a:pt x="534" y="299"/>
                </a:cubicBezTo>
                <a:cubicBezTo>
                  <a:pt x="477" y="324"/>
                  <a:pt x="433" y="343"/>
                  <a:pt x="421" y="350"/>
                </a:cubicBezTo>
                <a:cubicBezTo>
                  <a:pt x="415" y="356"/>
                  <a:pt x="415" y="356"/>
                  <a:pt x="415" y="356"/>
                </a:cubicBezTo>
                <a:cubicBezTo>
                  <a:pt x="408" y="362"/>
                  <a:pt x="402" y="362"/>
                  <a:pt x="396" y="369"/>
                </a:cubicBezTo>
                <a:cubicBezTo>
                  <a:pt x="390" y="369"/>
                  <a:pt x="383" y="369"/>
                  <a:pt x="371" y="375"/>
                </a:cubicBezTo>
                <a:cubicBezTo>
                  <a:pt x="371" y="375"/>
                  <a:pt x="371" y="375"/>
                  <a:pt x="352" y="388"/>
                </a:cubicBezTo>
                <a:cubicBezTo>
                  <a:pt x="346" y="394"/>
                  <a:pt x="352" y="388"/>
                  <a:pt x="333" y="394"/>
                </a:cubicBezTo>
                <a:cubicBezTo>
                  <a:pt x="321" y="407"/>
                  <a:pt x="327" y="400"/>
                  <a:pt x="346" y="394"/>
                </a:cubicBezTo>
                <a:cubicBezTo>
                  <a:pt x="314" y="407"/>
                  <a:pt x="321" y="407"/>
                  <a:pt x="295" y="426"/>
                </a:cubicBezTo>
                <a:cubicBezTo>
                  <a:pt x="295" y="426"/>
                  <a:pt x="295" y="426"/>
                  <a:pt x="289" y="432"/>
                </a:cubicBezTo>
                <a:cubicBezTo>
                  <a:pt x="289" y="426"/>
                  <a:pt x="295" y="426"/>
                  <a:pt x="295" y="426"/>
                </a:cubicBezTo>
                <a:cubicBezTo>
                  <a:pt x="289" y="426"/>
                  <a:pt x="289" y="432"/>
                  <a:pt x="283" y="438"/>
                </a:cubicBezTo>
                <a:cubicBezTo>
                  <a:pt x="277" y="438"/>
                  <a:pt x="289" y="432"/>
                  <a:pt x="277" y="438"/>
                </a:cubicBezTo>
                <a:cubicBezTo>
                  <a:pt x="277" y="438"/>
                  <a:pt x="277" y="438"/>
                  <a:pt x="270" y="445"/>
                </a:cubicBezTo>
                <a:cubicBezTo>
                  <a:pt x="258" y="451"/>
                  <a:pt x="270" y="445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58" y="451"/>
                </a:cubicBezTo>
                <a:cubicBezTo>
                  <a:pt x="258" y="451"/>
                  <a:pt x="258" y="451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45" y="464"/>
                  <a:pt x="245" y="464"/>
                  <a:pt x="245" y="464"/>
                </a:cubicBezTo>
                <a:cubicBezTo>
                  <a:pt x="239" y="464"/>
                  <a:pt x="239" y="464"/>
                  <a:pt x="239" y="464"/>
                </a:cubicBezTo>
                <a:cubicBezTo>
                  <a:pt x="245" y="464"/>
                  <a:pt x="245" y="464"/>
                  <a:pt x="245" y="458"/>
                </a:cubicBezTo>
                <a:cubicBezTo>
                  <a:pt x="226" y="470"/>
                  <a:pt x="226" y="470"/>
                  <a:pt x="226" y="470"/>
                </a:cubicBezTo>
                <a:cubicBezTo>
                  <a:pt x="226" y="470"/>
                  <a:pt x="226" y="470"/>
                  <a:pt x="226" y="477"/>
                </a:cubicBezTo>
                <a:cubicBezTo>
                  <a:pt x="226" y="477"/>
                  <a:pt x="226" y="477"/>
                  <a:pt x="258" y="451"/>
                </a:cubicBezTo>
                <a:cubicBezTo>
                  <a:pt x="239" y="464"/>
                  <a:pt x="208" y="483"/>
                  <a:pt x="189" y="502"/>
                </a:cubicBezTo>
                <a:cubicBezTo>
                  <a:pt x="182" y="508"/>
                  <a:pt x="182" y="508"/>
                  <a:pt x="182" y="508"/>
                </a:cubicBezTo>
                <a:cubicBezTo>
                  <a:pt x="170" y="515"/>
                  <a:pt x="170" y="515"/>
                  <a:pt x="164" y="527"/>
                </a:cubicBezTo>
                <a:cubicBezTo>
                  <a:pt x="164" y="527"/>
                  <a:pt x="164" y="527"/>
                  <a:pt x="170" y="527"/>
                </a:cubicBezTo>
                <a:cubicBezTo>
                  <a:pt x="151" y="546"/>
                  <a:pt x="132" y="565"/>
                  <a:pt x="120" y="578"/>
                </a:cubicBezTo>
                <a:cubicBezTo>
                  <a:pt x="120" y="578"/>
                  <a:pt x="107" y="578"/>
                  <a:pt x="107" y="584"/>
                </a:cubicBezTo>
                <a:cubicBezTo>
                  <a:pt x="101" y="591"/>
                  <a:pt x="101" y="591"/>
                  <a:pt x="101" y="591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107" y="584"/>
                  <a:pt x="126" y="572"/>
                  <a:pt x="120" y="572"/>
                </a:cubicBezTo>
                <a:cubicBezTo>
                  <a:pt x="126" y="565"/>
                  <a:pt x="132" y="559"/>
                  <a:pt x="132" y="559"/>
                </a:cubicBezTo>
                <a:cubicBezTo>
                  <a:pt x="126" y="565"/>
                  <a:pt x="120" y="572"/>
                  <a:pt x="101" y="591"/>
                </a:cubicBezTo>
                <a:cubicBezTo>
                  <a:pt x="101" y="591"/>
                  <a:pt x="101" y="591"/>
                  <a:pt x="107" y="578"/>
                </a:cubicBezTo>
                <a:cubicBezTo>
                  <a:pt x="101" y="591"/>
                  <a:pt x="95" y="597"/>
                  <a:pt x="88" y="604"/>
                </a:cubicBezTo>
                <a:cubicBezTo>
                  <a:pt x="95" y="597"/>
                  <a:pt x="95" y="597"/>
                  <a:pt x="95" y="597"/>
                </a:cubicBezTo>
                <a:cubicBezTo>
                  <a:pt x="82" y="610"/>
                  <a:pt x="70" y="635"/>
                  <a:pt x="63" y="648"/>
                </a:cubicBezTo>
                <a:cubicBezTo>
                  <a:pt x="63" y="648"/>
                  <a:pt x="57" y="654"/>
                  <a:pt x="57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1"/>
                  <a:pt x="51" y="661"/>
                  <a:pt x="51" y="661"/>
                </a:cubicBezTo>
                <a:cubicBezTo>
                  <a:pt x="51" y="667"/>
                  <a:pt x="51" y="667"/>
                  <a:pt x="51" y="667"/>
                </a:cubicBezTo>
                <a:cubicBezTo>
                  <a:pt x="51" y="667"/>
                  <a:pt x="51" y="667"/>
                  <a:pt x="51" y="661"/>
                </a:cubicBezTo>
                <a:cubicBezTo>
                  <a:pt x="51" y="673"/>
                  <a:pt x="44" y="680"/>
                  <a:pt x="38" y="699"/>
                </a:cubicBezTo>
                <a:cubicBezTo>
                  <a:pt x="44" y="686"/>
                  <a:pt x="44" y="686"/>
                  <a:pt x="44" y="680"/>
                </a:cubicBezTo>
                <a:cubicBezTo>
                  <a:pt x="44" y="686"/>
                  <a:pt x="38" y="692"/>
                  <a:pt x="38" y="699"/>
                </a:cubicBezTo>
                <a:cubicBezTo>
                  <a:pt x="38" y="699"/>
                  <a:pt x="38" y="699"/>
                  <a:pt x="38" y="699"/>
                </a:cubicBezTo>
                <a:cubicBezTo>
                  <a:pt x="32" y="705"/>
                  <a:pt x="32" y="718"/>
                  <a:pt x="32" y="718"/>
                </a:cubicBezTo>
                <a:cubicBezTo>
                  <a:pt x="26" y="730"/>
                  <a:pt x="26" y="730"/>
                  <a:pt x="26" y="730"/>
                </a:cubicBezTo>
                <a:cubicBezTo>
                  <a:pt x="19" y="743"/>
                  <a:pt x="26" y="730"/>
                  <a:pt x="19" y="743"/>
                </a:cubicBezTo>
                <a:cubicBezTo>
                  <a:pt x="19" y="743"/>
                  <a:pt x="19" y="743"/>
                  <a:pt x="19" y="750"/>
                </a:cubicBezTo>
                <a:cubicBezTo>
                  <a:pt x="19" y="750"/>
                  <a:pt x="19" y="750"/>
                  <a:pt x="13" y="769"/>
                </a:cubicBezTo>
                <a:cubicBezTo>
                  <a:pt x="13" y="775"/>
                  <a:pt x="13" y="781"/>
                  <a:pt x="13" y="794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00"/>
                  <a:pt x="13" y="800"/>
                  <a:pt x="13" y="800"/>
                </a:cubicBezTo>
                <a:cubicBezTo>
                  <a:pt x="13" y="813"/>
                  <a:pt x="13" y="832"/>
                  <a:pt x="13" y="845"/>
                </a:cubicBezTo>
                <a:cubicBezTo>
                  <a:pt x="13" y="864"/>
                  <a:pt x="13" y="857"/>
                  <a:pt x="13" y="857"/>
                </a:cubicBezTo>
                <a:cubicBezTo>
                  <a:pt x="13" y="876"/>
                  <a:pt x="19" y="896"/>
                  <a:pt x="26" y="908"/>
                </a:cubicBezTo>
                <a:cubicBezTo>
                  <a:pt x="32" y="927"/>
                  <a:pt x="32" y="927"/>
                  <a:pt x="44" y="953"/>
                </a:cubicBezTo>
                <a:cubicBezTo>
                  <a:pt x="57" y="972"/>
                  <a:pt x="70" y="984"/>
                  <a:pt x="82" y="1003"/>
                </a:cubicBezTo>
                <a:cubicBezTo>
                  <a:pt x="82" y="1003"/>
                  <a:pt x="82" y="997"/>
                  <a:pt x="76" y="997"/>
                </a:cubicBezTo>
                <a:cubicBezTo>
                  <a:pt x="82" y="1003"/>
                  <a:pt x="82" y="1003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16"/>
                </a:cubicBezTo>
                <a:cubicBezTo>
                  <a:pt x="95" y="1022"/>
                  <a:pt x="95" y="1022"/>
                  <a:pt x="95" y="1022"/>
                </a:cubicBezTo>
                <a:cubicBezTo>
                  <a:pt x="101" y="1022"/>
                  <a:pt x="101" y="1029"/>
                  <a:pt x="107" y="1029"/>
                </a:cubicBezTo>
                <a:cubicBezTo>
                  <a:pt x="101" y="1029"/>
                  <a:pt x="101" y="1022"/>
                  <a:pt x="95" y="1022"/>
                </a:cubicBezTo>
                <a:cubicBezTo>
                  <a:pt x="101" y="1022"/>
                  <a:pt x="107" y="1029"/>
                  <a:pt x="107" y="1035"/>
                </a:cubicBezTo>
                <a:cubicBezTo>
                  <a:pt x="101" y="1029"/>
                  <a:pt x="88" y="1016"/>
                  <a:pt x="82" y="1003"/>
                </a:cubicBezTo>
                <a:cubicBezTo>
                  <a:pt x="88" y="1016"/>
                  <a:pt x="95" y="1016"/>
                  <a:pt x="101" y="1022"/>
                </a:cubicBezTo>
                <a:cubicBezTo>
                  <a:pt x="164" y="1067"/>
                  <a:pt x="239" y="1099"/>
                  <a:pt x="302" y="1111"/>
                </a:cubicBezTo>
                <a:cubicBezTo>
                  <a:pt x="333" y="1130"/>
                  <a:pt x="377" y="1143"/>
                  <a:pt x="415" y="1149"/>
                </a:cubicBezTo>
                <a:cubicBezTo>
                  <a:pt x="408" y="1149"/>
                  <a:pt x="402" y="1149"/>
                  <a:pt x="396" y="1143"/>
                </a:cubicBezTo>
                <a:cubicBezTo>
                  <a:pt x="383" y="1143"/>
                  <a:pt x="396" y="1143"/>
                  <a:pt x="371" y="1137"/>
                </a:cubicBezTo>
                <a:cubicBezTo>
                  <a:pt x="371" y="1137"/>
                  <a:pt x="371" y="1137"/>
                  <a:pt x="383" y="1143"/>
                </a:cubicBezTo>
                <a:cubicBezTo>
                  <a:pt x="408" y="1149"/>
                  <a:pt x="402" y="1143"/>
                  <a:pt x="433" y="1149"/>
                </a:cubicBezTo>
                <a:cubicBezTo>
                  <a:pt x="433" y="1149"/>
                  <a:pt x="433" y="1149"/>
                  <a:pt x="433" y="1149"/>
                </a:cubicBezTo>
                <a:cubicBezTo>
                  <a:pt x="440" y="1149"/>
                  <a:pt x="440" y="1149"/>
                  <a:pt x="446" y="1156"/>
                </a:cubicBezTo>
                <a:cubicBezTo>
                  <a:pt x="465" y="1156"/>
                  <a:pt x="484" y="1156"/>
                  <a:pt x="496" y="1162"/>
                </a:cubicBezTo>
                <a:cubicBezTo>
                  <a:pt x="490" y="1162"/>
                  <a:pt x="490" y="1162"/>
                  <a:pt x="490" y="1162"/>
                </a:cubicBezTo>
                <a:cubicBezTo>
                  <a:pt x="496" y="1162"/>
                  <a:pt x="496" y="1162"/>
                  <a:pt x="496" y="1162"/>
                </a:cubicBezTo>
                <a:cubicBezTo>
                  <a:pt x="509" y="1162"/>
                  <a:pt x="521" y="1162"/>
                  <a:pt x="528" y="1162"/>
                </a:cubicBezTo>
                <a:cubicBezTo>
                  <a:pt x="528" y="1162"/>
                  <a:pt x="528" y="1162"/>
                  <a:pt x="565" y="1168"/>
                </a:cubicBezTo>
                <a:cubicBezTo>
                  <a:pt x="565" y="1168"/>
                  <a:pt x="565" y="1168"/>
                  <a:pt x="540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28" y="1162"/>
                  <a:pt x="528" y="1162"/>
                  <a:pt x="528" y="1162"/>
                </a:cubicBezTo>
                <a:cubicBezTo>
                  <a:pt x="509" y="1162"/>
                  <a:pt x="490" y="1156"/>
                  <a:pt x="477" y="1156"/>
                </a:cubicBezTo>
                <a:cubicBezTo>
                  <a:pt x="503" y="1162"/>
                  <a:pt x="528" y="1162"/>
                  <a:pt x="565" y="1162"/>
                </a:cubicBezTo>
                <a:cubicBezTo>
                  <a:pt x="540" y="1162"/>
                  <a:pt x="534" y="1162"/>
                  <a:pt x="528" y="1162"/>
                </a:cubicBezTo>
                <a:cubicBezTo>
                  <a:pt x="546" y="1162"/>
                  <a:pt x="546" y="1162"/>
                  <a:pt x="546" y="1162"/>
                </a:cubicBezTo>
                <a:cubicBezTo>
                  <a:pt x="553" y="1162"/>
                  <a:pt x="553" y="1162"/>
                  <a:pt x="572" y="1162"/>
                </a:cubicBezTo>
                <a:cubicBezTo>
                  <a:pt x="641" y="1168"/>
                  <a:pt x="716" y="1168"/>
                  <a:pt x="791" y="1162"/>
                </a:cubicBezTo>
                <a:cubicBezTo>
                  <a:pt x="791" y="1162"/>
                  <a:pt x="791" y="1162"/>
                  <a:pt x="791" y="1162"/>
                </a:cubicBezTo>
                <a:cubicBezTo>
                  <a:pt x="797" y="1162"/>
                  <a:pt x="797" y="1162"/>
                  <a:pt x="804" y="1162"/>
                </a:cubicBezTo>
                <a:cubicBezTo>
                  <a:pt x="841" y="1156"/>
                  <a:pt x="879" y="1156"/>
                  <a:pt x="923" y="1149"/>
                </a:cubicBezTo>
                <a:cubicBezTo>
                  <a:pt x="923" y="1149"/>
                  <a:pt x="923" y="1149"/>
                  <a:pt x="923" y="1149"/>
                </a:cubicBezTo>
                <a:cubicBezTo>
                  <a:pt x="929" y="1149"/>
                  <a:pt x="929" y="1149"/>
                  <a:pt x="929" y="1149"/>
                </a:cubicBezTo>
                <a:cubicBezTo>
                  <a:pt x="942" y="1143"/>
                  <a:pt x="954" y="1143"/>
                  <a:pt x="961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67" y="1143"/>
                  <a:pt x="973" y="1143"/>
                  <a:pt x="979" y="1137"/>
                </a:cubicBezTo>
                <a:cubicBezTo>
                  <a:pt x="973" y="1143"/>
                  <a:pt x="973" y="1143"/>
                  <a:pt x="967" y="1143"/>
                </a:cubicBezTo>
                <a:cubicBezTo>
                  <a:pt x="967" y="1143"/>
                  <a:pt x="967" y="1143"/>
                  <a:pt x="967" y="1143"/>
                </a:cubicBezTo>
                <a:cubicBezTo>
                  <a:pt x="973" y="1143"/>
                  <a:pt x="973" y="1137"/>
                  <a:pt x="979" y="1137"/>
                </a:cubicBezTo>
                <a:cubicBezTo>
                  <a:pt x="1023" y="1130"/>
                  <a:pt x="1061" y="1124"/>
                  <a:pt x="1092" y="1111"/>
                </a:cubicBezTo>
                <a:cubicBezTo>
                  <a:pt x="1092" y="1111"/>
                  <a:pt x="1092" y="1111"/>
                  <a:pt x="1130" y="1105"/>
                </a:cubicBezTo>
                <a:cubicBezTo>
                  <a:pt x="1136" y="1105"/>
                  <a:pt x="1143" y="1099"/>
                  <a:pt x="1149" y="1099"/>
                </a:cubicBezTo>
                <a:cubicBezTo>
                  <a:pt x="1155" y="1099"/>
                  <a:pt x="1161" y="1099"/>
                  <a:pt x="1168" y="1092"/>
                </a:cubicBezTo>
                <a:cubicBezTo>
                  <a:pt x="1168" y="1092"/>
                  <a:pt x="1168" y="1092"/>
                  <a:pt x="1168" y="1092"/>
                </a:cubicBezTo>
                <a:cubicBezTo>
                  <a:pt x="1174" y="1092"/>
                  <a:pt x="1174" y="1092"/>
                  <a:pt x="1180" y="1092"/>
                </a:cubicBezTo>
                <a:cubicBezTo>
                  <a:pt x="1187" y="1092"/>
                  <a:pt x="1193" y="1086"/>
                  <a:pt x="1199" y="1086"/>
                </a:cubicBezTo>
                <a:cubicBezTo>
                  <a:pt x="1199" y="1086"/>
                  <a:pt x="1205" y="1086"/>
                  <a:pt x="1212" y="1080"/>
                </a:cubicBezTo>
                <a:cubicBezTo>
                  <a:pt x="1212" y="1080"/>
                  <a:pt x="1212" y="1080"/>
                  <a:pt x="1212" y="1080"/>
                </a:cubicBezTo>
                <a:cubicBezTo>
                  <a:pt x="1212" y="1080"/>
                  <a:pt x="1212" y="1080"/>
                  <a:pt x="1218" y="1080"/>
                </a:cubicBezTo>
                <a:cubicBezTo>
                  <a:pt x="1224" y="1080"/>
                  <a:pt x="1224" y="1080"/>
                  <a:pt x="1237" y="1073"/>
                </a:cubicBezTo>
                <a:cubicBezTo>
                  <a:pt x="1243" y="1073"/>
                  <a:pt x="1249" y="1073"/>
                  <a:pt x="1249" y="1073"/>
                </a:cubicBezTo>
                <a:cubicBezTo>
                  <a:pt x="1249" y="1073"/>
                  <a:pt x="1249" y="1073"/>
                  <a:pt x="1249" y="1073"/>
                </a:cubicBezTo>
                <a:cubicBezTo>
                  <a:pt x="1256" y="1067"/>
                  <a:pt x="1268" y="1067"/>
                  <a:pt x="1274" y="1061"/>
                </a:cubicBezTo>
                <a:cubicBezTo>
                  <a:pt x="1274" y="1061"/>
                  <a:pt x="1274" y="1061"/>
                  <a:pt x="1268" y="1067"/>
                </a:cubicBezTo>
                <a:cubicBezTo>
                  <a:pt x="1268" y="1067"/>
                  <a:pt x="1268" y="1067"/>
                  <a:pt x="1274" y="1067"/>
                </a:cubicBezTo>
                <a:cubicBezTo>
                  <a:pt x="1274" y="1067"/>
                  <a:pt x="1274" y="1067"/>
                  <a:pt x="1274" y="1067"/>
                </a:cubicBezTo>
                <a:cubicBezTo>
                  <a:pt x="1274" y="1061"/>
                  <a:pt x="1281" y="1061"/>
                  <a:pt x="1287" y="1061"/>
                </a:cubicBezTo>
                <a:cubicBezTo>
                  <a:pt x="1293" y="1054"/>
                  <a:pt x="1293" y="1061"/>
                  <a:pt x="1318" y="1048"/>
                </a:cubicBezTo>
                <a:cubicBezTo>
                  <a:pt x="1300" y="1054"/>
                  <a:pt x="1318" y="1048"/>
                  <a:pt x="1287" y="1061"/>
                </a:cubicBezTo>
                <a:cubicBezTo>
                  <a:pt x="1287" y="1054"/>
                  <a:pt x="1318" y="1048"/>
                  <a:pt x="1356" y="1035"/>
                </a:cubicBezTo>
                <a:cubicBezTo>
                  <a:pt x="1356" y="1035"/>
                  <a:pt x="1362" y="1029"/>
                  <a:pt x="1369" y="1029"/>
                </a:cubicBezTo>
                <a:cubicBezTo>
                  <a:pt x="1381" y="1022"/>
                  <a:pt x="1394" y="1016"/>
                  <a:pt x="1406" y="1003"/>
                </a:cubicBezTo>
                <a:cubicBezTo>
                  <a:pt x="1406" y="1003"/>
                  <a:pt x="1400" y="1003"/>
                  <a:pt x="1400" y="1016"/>
                </a:cubicBezTo>
                <a:cubicBezTo>
                  <a:pt x="1406" y="1003"/>
                  <a:pt x="1406" y="1003"/>
                  <a:pt x="1412" y="997"/>
                </a:cubicBezTo>
                <a:cubicBezTo>
                  <a:pt x="1412" y="1003"/>
                  <a:pt x="1412" y="1003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06" y="1003"/>
                  <a:pt x="1406" y="1003"/>
                  <a:pt x="1406" y="1003"/>
                </a:cubicBezTo>
                <a:cubicBezTo>
                  <a:pt x="1406" y="1003"/>
                  <a:pt x="1400" y="1016"/>
                  <a:pt x="1394" y="1016"/>
                </a:cubicBezTo>
                <a:cubicBezTo>
                  <a:pt x="1400" y="1016"/>
                  <a:pt x="1400" y="1016"/>
                  <a:pt x="1400" y="1016"/>
                </a:cubicBezTo>
                <a:cubicBezTo>
                  <a:pt x="1400" y="1016"/>
                  <a:pt x="1400" y="1016"/>
                  <a:pt x="1394" y="1016"/>
                </a:cubicBezTo>
                <a:cubicBezTo>
                  <a:pt x="1394" y="1016"/>
                  <a:pt x="1394" y="1016"/>
                  <a:pt x="1400" y="1016"/>
                </a:cubicBezTo>
                <a:cubicBezTo>
                  <a:pt x="1406" y="1016"/>
                  <a:pt x="1406" y="1016"/>
                  <a:pt x="1406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12" y="1003"/>
                  <a:pt x="1412" y="1003"/>
                  <a:pt x="1412" y="1003"/>
                </a:cubicBezTo>
                <a:cubicBezTo>
                  <a:pt x="1425" y="997"/>
                  <a:pt x="1438" y="991"/>
                  <a:pt x="1456" y="984"/>
                </a:cubicBezTo>
                <a:cubicBezTo>
                  <a:pt x="1444" y="984"/>
                  <a:pt x="1456" y="984"/>
                  <a:pt x="1444" y="984"/>
                </a:cubicBezTo>
                <a:cubicBezTo>
                  <a:pt x="1444" y="984"/>
                  <a:pt x="1444" y="984"/>
                  <a:pt x="1463" y="978"/>
                </a:cubicBezTo>
                <a:cubicBezTo>
                  <a:pt x="1469" y="972"/>
                  <a:pt x="1469" y="972"/>
                  <a:pt x="1469" y="978"/>
                </a:cubicBezTo>
                <a:cubicBezTo>
                  <a:pt x="1463" y="978"/>
                  <a:pt x="1463" y="978"/>
                  <a:pt x="1456" y="984"/>
                </a:cubicBezTo>
                <a:cubicBezTo>
                  <a:pt x="1463" y="978"/>
                  <a:pt x="1463" y="978"/>
                  <a:pt x="1469" y="978"/>
                </a:cubicBezTo>
                <a:cubicBezTo>
                  <a:pt x="1469" y="978"/>
                  <a:pt x="1469" y="978"/>
                  <a:pt x="1469" y="978"/>
                </a:cubicBezTo>
                <a:cubicBezTo>
                  <a:pt x="1469" y="978"/>
                  <a:pt x="1469" y="978"/>
                  <a:pt x="1475" y="972"/>
                </a:cubicBezTo>
                <a:cubicBezTo>
                  <a:pt x="1475" y="972"/>
                  <a:pt x="1482" y="972"/>
                  <a:pt x="1488" y="965"/>
                </a:cubicBezTo>
                <a:cubicBezTo>
                  <a:pt x="1488" y="965"/>
                  <a:pt x="1488" y="965"/>
                  <a:pt x="1475" y="972"/>
                </a:cubicBezTo>
                <a:cubicBezTo>
                  <a:pt x="1488" y="965"/>
                  <a:pt x="1494" y="959"/>
                  <a:pt x="1507" y="953"/>
                </a:cubicBezTo>
                <a:cubicBezTo>
                  <a:pt x="1507" y="953"/>
                  <a:pt x="1507" y="953"/>
                  <a:pt x="1519" y="946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9" y="946"/>
                  <a:pt x="1525" y="940"/>
                  <a:pt x="1532" y="940"/>
                </a:cubicBezTo>
                <a:cubicBezTo>
                  <a:pt x="1532" y="940"/>
                  <a:pt x="1532" y="940"/>
                  <a:pt x="1525" y="940"/>
                </a:cubicBezTo>
                <a:cubicBezTo>
                  <a:pt x="1551" y="921"/>
                  <a:pt x="1544" y="927"/>
                  <a:pt x="1551" y="921"/>
                </a:cubicBezTo>
                <a:cubicBezTo>
                  <a:pt x="1551" y="921"/>
                  <a:pt x="1551" y="921"/>
                  <a:pt x="1551" y="921"/>
                </a:cubicBezTo>
                <a:cubicBezTo>
                  <a:pt x="1557" y="921"/>
                  <a:pt x="1557" y="908"/>
                  <a:pt x="1563" y="908"/>
                </a:cubicBezTo>
                <a:cubicBezTo>
                  <a:pt x="1582" y="902"/>
                  <a:pt x="1582" y="896"/>
                  <a:pt x="1582" y="896"/>
                </a:cubicBezTo>
                <a:cubicBezTo>
                  <a:pt x="1582" y="902"/>
                  <a:pt x="1582" y="902"/>
                  <a:pt x="1582" y="902"/>
                </a:cubicBezTo>
                <a:cubicBezTo>
                  <a:pt x="1594" y="889"/>
                  <a:pt x="1607" y="883"/>
                  <a:pt x="1613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70"/>
                  <a:pt x="1620" y="870"/>
                  <a:pt x="1620" y="870"/>
                </a:cubicBezTo>
                <a:cubicBezTo>
                  <a:pt x="1620" y="864"/>
                  <a:pt x="1626" y="864"/>
                  <a:pt x="1626" y="857"/>
                </a:cubicBezTo>
                <a:cubicBezTo>
                  <a:pt x="1632" y="857"/>
                  <a:pt x="1632" y="857"/>
                  <a:pt x="1632" y="851"/>
                </a:cubicBezTo>
                <a:cubicBezTo>
                  <a:pt x="1632" y="851"/>
                  <a:pt x="1632" y="851"/>
                  <a:pt x="1651" y="838"/>
                </a:cubicBezTo>
                <a:cubicBezTo>
                  <a:pt x="1651" y="838"/>
                  <a:pt x="1651" y="838"/>
                  <a:pt x="1638" y="845"/>
                </a:cubicBezTo>
                <a:cubicBezTo>
                  <a:pt x="1645" y="845"/>
                  <a:pt x="1651" y="838"/>
                  <a:pt x="1657" y="832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26"/>
                  <a:pt x="1657" y="826"/>
                  <a:pt x="1657" y="826"/>
                </a:cubicBezTo>
                <a:cubicBezTo>
                  <a:pt x="1670" y="807"/>
                  <a:pt x="1689" y="794"/>
                  <a:pt x="1670" y="807"/>
                </a:cubicBezTo>
                <a:cubicBezTo>
                  <a:pt x="1689" y="794"/>
                  <a:pt x="1707" y="769"/>
                  <a:pt x="1726" y="737"/>
                </a:cubicBezTo>
                <a:cubicBezTo>
                  <a:pt x="1726" y="737"/>
                  <a:pt x="1739" y="718"/>
                  <a:pt x="1739" y="705"/>
                </a:cubicBezTo>
                <a:cubicBezTo>
                  <a:pt x="1739" y="705"/>
                  <a:pt x="1739" y="705"/>
                  <a:pt x="1739" y="699"/>
                </a:cubicBezTo>
                <a:cubicBezTo>
                  <a:pt x="1739" y="705"/>
                  <a:pt x="1733" y="718"/>
                  <a:pt x="1733" y="718"/>
                </a:cubicBezTo>
                <a:cubicBezTo>
                  <a:pt x="1739" y="718"/>
                  <a:pt x="1739" y="705"/>
                  <a:pt x="1739" y="699"/>
                </a:cubicBezTo>
                <a:cubicBezTo>
                  <a:pt x="1745" y="692"/>
                  <a:pt x="1745" y="692"/>
                  <a:pt x="1751" y="673"/>
                </a:cubicBezTo>
                <a:cubicBezTo>
                  <a:pt x="1751" y="680"/>
                  <a:pt x="1745" y="686"/>
                  <a:pt x="1739" y="692"/>
                </a:cubicBezTo>
                <a:cubicBezTo>
                  <a:pt x="1745" y="686"/>
                  <a:pt x="1751" y="667"/>
                  <a:pt x="1758" y="661"/>
                </a:cubicBezTo>
                <a:cubicBezTo>
                  <a:pt x="1751" y="667"/>
                  <a:pt x="1751" y="667"/>
                  <a:pt x="1751" y="667"/>
                </a:cubicBezTo>
                <a:cubicBezTo>
                  <a:pt x="1758" y="642"/>
                  <a:pt x="1758" y="642"/>
                  <a:pt x="1758" y="642"/>
                </a:cubicBezTo>
                <a:cubicBezTo>
                  <a:pt x="1764" y="635"/>
                  <a:pt x="1764" y="635"/>
                  <a:pt x="1764" y="635"/>
                </a:cubicBezTo>
                <a:cubicBezTo>
                  <a:pt x="1764" y="629"/>
                  <a:pt x="1764" y="629"/>
                  <a:pt x="1764" y="629"/>
                </a:cubicBezTo>
                <a:cubicBezTo>
                  <a:pt x="1764" y="604"/>
                  <a:pt x="1764" y="610"/>
                  <a:pt x="1764" y="635"/>
                </a:cubicBezTo>
                <a:cubicBezTo>
                  <a:pt x="1770" y="597"/>
                  <a:pt x="1770" y="572"/>
                  <a:pt x="1776" y="553"/>
                </a:cubicBezTo>
                <a:cubicBezTo>
                  <a:pt x="1776" y="553"/>
                  <a:pt x="1776" y="553"/>
                  <a:pt x="1770" y="572"/>
                </a:cubicBezTo>
                <a:cubicBezTo>
                  <a:pt x="1770" y="559"/>
                  <a:pt x="1776" y="553"/>
                  <a:pt x="1776" y="540"/>
                </a:cubicBezTo>
                <a:cubicBezTo>
                  <a:pt x="1776" y="534"/>
                  <a:pt x="1776" y="534"/>
                  <a:pt x="1776" y="534"/>
                </a:cubicBezTo>
                <a:close/>
                <a:moveTo>
                  <a:pt x="44" y="953"/>
                </a:moveTo>
                <a:cubicBezTo>
                  <a:pt x="44" y="953"/>
                  <a:pt x="44" y="946"/>
                  <a:pt x="38" y="946"/>
                </a:cubicBezTo>
                <a:cubicBezTo>
                  <a:pt x="44" y="946"/>
                  <a:pt x="44" y="953"/>
                  <a:pt x="44" y="953"/>
                </a:cubicBezTo>
                <a:close/>
                <a:moveTo>
                  <a:pt x="672" y="58"/>
                </a:moveTo>
                <a:cubicBezTo>
                  <a:pt x="672" y="58"/>
                  <a:pt x="672" y="58"/>
                  <a:pt x="672" y="58"/>
                </a:cubicBezTo>
                <a:cubicBezTo>
                  <a:pt x="685" y="58"/>
                  <a:pt x="685" y="58"/>
                  <a:pt x="691" y="58"/>
                </a:cubicBezTo>
                <a:cubicBezTo>
                  <a:pt x="685" y="58"/>
                  <a:pt x="685" y="58"/>
                  <a:pt x="672" y="58"/>
                </a:cubicBezTo>
                <a:close/>
                <a:moveTo>
                  <a:pt x="860" y="20"/>
                </a:moveTo>
                <a:cubicBezTo>
                  <a:pt x="860" y="20"/>
                  <a:pt x="860" y="20"/>
                  <a:pt x="860" y="20"/>
                </a:cubicBezTo>
                <a:cubicBezTo>
                  <a:pt x="860" y="20"/>
                  <a:pt x="860" y="20"/>
                  <a:pt x="860" y="20"/>
                </a:cubicBezTo>
                <a:close/>
                <a:moveTo>
                  <a:pt x="565" y="1130"/>
                </a:move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ubicBezTo>
                  <a:pt x="565" y="1130"/>
                  <a:pt x="565" y="1130"/>
                  <a:pt x="565" y="1130"/>
                </a:cubicBezTo>
                <a:close/>
                <a:moveTo>
                  <a:pt x="38" y="940"/>
                </a:moveTo>
                <a:cubicBezTo>
                  <a:pt x="38" y="946"/>
                  <a:pt x="38" y="946"/>
                  <a:pt x="38" y="946"/>
                </a:cubicBezTo>
                <a:cubicBezTo>
                  <a:pt x="38" y="940"/>
                  <a:pt x="32" y="934"/>
                  <a:pt x="32" y="927"/>
                </a:cubicBezTo>
                <a:cubicBezTo>
                  <a:pt x="32" y="934"/>
                  <a:pt x="32" y="934"/>
                  <a:pt x="38" y="940"/>
                </a:cubicBezTo>
                <a:close/>
                <a:moveTo>
                  <a:pt x="1551" y="927"/>
                </a:moveTo>
                <a:cubicBezTo>
                  <a:pt x="1563" y="908"/>
                  <a:pt x="1563" y="908"/>
                  <a:pt x="1563" y="908"/>
                </a:cubicBezTo>
                <a:cubicBezTo>
                  <a:pt x="1557" y="921"/>
                  <a:pt x="1557" y="921"/>
                  <a:pt x="1557" y="921"/>
                </a:cubicBezTo>
                <a:cubicBezTo>
                  <a:pt x="1551" y="927"/>
                  <a:pt x="1551" y="927"/>
                  <a:pt x="1551" y="927"/>
                </a:cubicBezTo>
                <a:close/>
                <a:moveTo>
                  <a:pt x="1563" y="134"/>
                </a:moveTo>
                <a:cubicBezTo>
                  <a:pt x="1576" y="134"/>
                  <a:pt x="1582" y="140"/>
                  <a:pt x="1582" y="140"/>
                </a:cubicBezTo>
                <a:cubicBezTo>
                  <a:pt x="1576" y="134"/>
                  <a:pt x="1576" y="134"/>
                  <a:pt x="1563" y="134"/>
                </a:cubicBezTo>
                <a:close/>
                <a:moveTo>
                  <a:pt x="1594" y="146"/>
                </a:moveTo>
                <a:cubicBezTo>
                  <a:pt x="1594" y="146"/>
                  <a:pt x="1594" y="146"/>
                  <a:pt x="1594" y="146"/>
                </a:cubicBezTo>
                <a:cubicBezTo>
                  <a:pt x="1601" y="153"/>
                  <a:pt x="1601" y="153"/>
                  <a:pt x="1601" y="153"/>
                </a:cubicBezTo>
                <a:cubicBezTo>
                  <a:pt x="1594" y="146"/>
                  <a:pt x="1594" y="146"/>
                  <a:pt x="1594" y="146"/>
                </a:cubicBezTo>
                <a:cubicBezTo>
                  <a:pt x="1588" y="146"/>
                  <a:pt x="1588" y="140"/>
                  <a:pt x="1582" y="140"/>
                </a:cubicBezTo>
                <a:cubicBezTo>
                  <a:pt x="1582" y="140"/>
                  <a:pt x="1582" y="140"/>
                  <a:pt x="1582" y="140"/>
                </a:cubicBezTo>
                <a:cubicBezTo>
                  <a:pt x="1588" y="140"/>
                  <a:pt x="1594" y="146"/>
                  <a:pt x="1601" y="153"/>
                </a:cubicBezTo>
                <a:cubicBezTo>
                  <a:pt x="1607" y="159"/>
                  <a:pt x="1594" y="146"/>
                  <a:pt x="1594" y="146"/>
                </a:cubicBezTo>
                <a:close/>
                <a:moveTo>
                  <a:pt x="19" y="750"/>
                </a:moveTo>
                <a:cubicBezTo>
                  <a:pt x="13" y="756"/>
                  <a:pt x="13" y="769"/>
                  <a:pt x="13" y="775"/>
                </a:cubicBezTo>
                <a:cubicBezTo>
                  <a:pt x="13" y="769"/>
                  <a:pt x="13" y="769"/>
                  <a:pt x="19" y="756"/>
                </a:cubicBezTo>
                <a:cubicBezTo>
                  <a:pt x="19" y="750"/>
                  <a:pt x="19" y="750"/>
                  <a:pt x="19" y="750"/>
                </a:cubicBezTo>
                <a:close/>
                <a:moveTo>
                  <a:pt x="1638" y="185"/>
                </a:moveTo>
                <a:cubicBezTo>
                  <a:pt x="1645" y="191"/>
                  <a:pt x="1645" y="191"/>
                  <a:pt x="1645" y="191"/>
                </a:cubicBezTo>
                <a:cubicBezTo>
                  <a:pt x="1651" y="197"/>
                  <a:pt x="1651" y="197"/>
                  <a:pt x="1651" y="197"/>
                </a:cubicBezTo>
                <a:cubicBezTo>
                  <a:pt x="1638" y="185"/>
                  <a:pt x="1638" y="185"/>
                  <a:pt x="1638" y="185"/>
                </a:cubicBezTo>
                <a:close/>
                <a:moveTo>
                  <a:pt x="1657" y="832"/>
                </a:moveTo>
                <a:cubicBezTo>
                  <a:pt x="1651" y="838"/>
                  <a:pt x="1651" y="838"/>
                  <a:pt x="1645" y="845"/>
                </a:cubicBezTo>
                <a:cubicBezTo>
                  <a:pt x="1651" y="838"/>
                  <a:pt x="1651" y="838"/>
                  <a:pt x="1657" y="832"/>
                </a:cubicBezTo>
                <a:close/>
                <a:moveTo>
                  <a:pt x="1645" y="845"/>
                </a:moveTo>
                <a:cubicBezTo>
                  <a:pt x="1638" y="851"/>
                  <a:pt x="1638" y="851"/>
                  <a:pt x="1638" y="851"/>
                </a:cubicBezTo>
                <a:cubicBezTo>
                  <a:pt x="1638" y="851"/>
                  <a:pt x="1638" y="851"/>
                  <a:pt x="1626" y="857"/>
                </a:cubicBezTo>
                <a:cubicBezTo>
                  <a:pt x="1645" y="845"/>
                  <a:pt x="1632" y="857"/>
                  <a:pt x="1645" y="845"/>
                </a:cubicBezTo>
                <a:cubicBezTo>
                  <a:pt x="1651" y="838"/>
                  <a:pt x="1651" y="838"/>
                  <a:pt x="1645" y="845"/>
                </a:cubicBezTo>
                <a:close/>
                <a:moveTo>
                  <a:pt x="1657" y="832"/>
                </a:moveTo>
                <a:cubicBezTo>
                  <a:pt x="1657" y="832"/>
                  <a:pt x="1664" y="826"/>
                  <a:pt x="1682" y="807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70" y="813"/>
                  <a:pt x="1670" y="813"/>
                  <a:pt x="1670" y="813"/>
                </a:cubicBezTo>
                <a:cubicBezTo>
                  <a:pt x="1682" y="807"/>
                  <a:pt x="1670" y="813"/>
                  <a:pt x="1682" y="800"/>
                </a:cubicBezTo>
                <a:cubicBezTo>
                  <a:pt x="1682" y="800"/>
                  <a:pt x="1682" y="800"/>
                  <a:pt x="1695" y="781"/>
                </a:cubicBezTo>
                <a:cubicBezTo>
                  <a:pt x="1689" y="794"/>
                  <a:pt x="1689" y="800"/>
                  <a:pt x="1682" y="807"/>
                </a:cubicBezTo>
                <a:cubicBezTo>
                  <a:pt x="1682" y="807"/>
                  <a:pt x="1682" y="807"/>
                  <a:pt x="1682" y="807"/>
                </a:cubicBezTo>
                <a:cubicBezTo>
                  <a:pt x="1682" y="800"/>
                  <a:pt x="1689" y="800"/>
                  <a:pt x="1689" y="794"/>
                </a:cubicBezTo>
                <a:cubicBezTo>
                  <a:pt x="1689" y="794"/>
                  <a:pt x="1689" y="800"/>
                  <a:pt x="1682" y="800"/>
                </a:cubicBezTo>
                <a:cubicBezTo>
                  <a:pt x="1682" y="807"/>
                  <a:pt x="1670" y="807"/>
                  <a:pt x="1670" y="807"/>
                </a:cubicBezTo>
                <a:cubicBezTo>
                  <a:pt x="1670" y="807"/>
                  <a:pt x="1670" y="807"/>
                  <a:pt x="1670" y="807"/>
                </a:cubicBezTo>
                <a:cubicBezTo>
                  <a:pt x="1664" y="826"/>
                  <a:pt x="1664" y="826"/>
                  <a:pt x="1664" y="826"/>
                </a:cubicBezTo>
                <a:cubicBezTo>
                  <a:pt x="1657" y="832"/>
                  <a:pt x="1657" y="832"/>
                  <a:pt x="1657" y="832"/>
                </a:cubicBezTo>
                <a:close/>
                <a:moveTo>
                  <a:pt x="1707" y="267"/>
                </a:moveTo>
                <a:cubicBezTo>
                  <a:pt x="1714" y="273"/>
                  <a:pt x="1720" y="280"/>
                  <a:pt x="1726" y="292"/>
                </a:cubicBezTo>
                <a:cubicBezTo>
                  <a:pt x="1720" y="280"/>
                  <a:pt x="1720" y="280"/>
                  <a:pt x="1720" y="280"/>
                </a:cubicBezTo>
                <a:cubicBezTo>
                  <a:pt x="1720" y="273"/>
                  <a:pt x="1714" y="267"/>
                  <a:pt x="1707" y="267"/>
                </a:cubicBezTo>
                <a:close/>
                <a:moveTo>
                  <a:pt x="1513" y="953"/>
                </a:moveTo>
                <a:cubicBezTo>
                  <a:pt x="1532" y="940"/>
                  <a:pt x="1532" y="940"/>
                  <a:pt x="1532" y="940"/>
                </a:cubicBezTo>
                <a:cubicBezTo>
                  <a:pt x="1519" y="946"/>
                  <a:pt x="1519" y="946"/>
                  <a:pt x="1519" y="946"/>
                </a:cubicBezTo>
                <a:cubicBezTo>
                  <a:pt x="1513" y="953"/>
                  <a:pt x="1513" y="953"/>
                  <a:pt x="1513" y="953"/>
                </a:cubicBezTo>
                <a:close/>
                <a:moveTo>
                  <a:pt x="1689" y="235"/>
                </a:moveTo>
                <a:cubicBezTo>
                  <a:pt x="1695" y="242"/>
                  <a:pt x="1695" y="242"/>
                  <a:pt x="1695" y="242"/>
                </a:cubicBezTo>
                <a:cubicBezTo>
                  <a:pt x="1689" y="235"/>
                  <a:pt x="1689" y="235"/>
                  <a:pt x="1689" y="235"/>
                </a:cubicBezTo>
                <a:cubicBezTo>
                  <a:pt x="1689" y="235"/>
                  <a:pt x="1689" y="235"/>
                  <a:pt x="1695" y="242"/>
                </a:cubicBezTo>
                <a:cubicBezTo>
                  <a:pt x="1695" y="248"/>
                  <a:pt x="1701" y="248"/>
                  <a:pt x="1701" y="248"/>
                </a:cubicBezTo>
                <a:cubicBezTo>
                  <a:pt x="1701" y="248"/>
                  <a:pt x="1695" y="248"/>
                  <a:pt x="1695" y="242"/>
                </a:cubicBezTo>
                <a:cubicBezTo>
                  <a:pt x="1695" y="242"/>
                  <a:pt x="1695" y="242"/>
                  <a:pt x="1689" y="235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1"/>
                </a:cubicBezTo>
                <a:cubicBezTo>
                  <a:pt x="1701" y="254"/>
                  <a:pt x="1701" y="254"/>
                  <a:pt x="1701" y="248"/>
                </a:cubicBezTo>
                <a:cubicBezTo>
                  <a:pt x="1701" y="254"/>
                  <a:pt x="1707" y="261"/>
                  <a:pt x="1707" y="261"/>
                </a:cubicBezTo>
                <a:close/>
                <a:moveTo>
                  <a:pt x="1707" y="261"/>
                </a:moveTo>
                <a:cubicBezTo>
                  <a:pt x="1707" y="261"/>
                  <a:pt x="1707" y="261"/>
                  <a:pt x="1707" y="267"/>
                </a:cubicBezTo>
                <a:cubicBezTo>
                  <a:pt x="1714" y="267"/>
                  <a:pt x="1714" y="267"/>
                  <a:pt x="1714" y="267"/>
                </a:cubicBezTo>
                <a:cubicBezTo>
                  <a:pt x="1714" y="267"/>
                  <a:pt x="1714" y="267"/>
                  <a:pt x="1707" y="261"/>
                </a:cubicBezTo>
                <a:close/>
                <a:moveTo>
                  <a:pt x="283" y="1111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302" y="1124"/>
                  <a:pt x="283" y="1111"/>
                </a:cubicBezTo>
                <a:close/>
                <a:moveTo>
                  <a:pt x="270" y="1105"/>
                </a:moveTo>
                <a:cubicBezTo>
                  <a:pt x="277" y="1105"/>
                  <a:pt x="277" y="1105"/>
                  <a:pt x="277" y="1105"/>
                </a:cubicBezTo>
                <a:cubicBezTo>
                  <a:pt x="277" y="1105"/>
                  <a:pt x="277" y="1105"/>
                  <a:pt x="277" y="1105"/>
                </a:cubicBezTo>
                <a:cubicBezTo>
                  <a:pt x="270" y="1105"/>
                  <a:pt x="270" y="1105"/>
                  <a:pt x="270" y="1105"/>
                </a:cubicBezTo>
                <a:close/>
                <a:moveTo>
                  <a:pt x="277" y="1111"/>
                </a:moveTo>
                <a:cubicBezTo>
                  <a:pt x="277" y="1111"/>
                  <a:pt x="277" y="1111"/>
                  <a:pt x="277" y="1111"/>
                </a:cubicBezTo>
                <a:cubicBezTo>
                  <a:pt x="270" y="1105"/>
                  <a:pt x="270" y="1105"/>
                  <a:pt x="264" y="1105"/>
                </a:cubicBezTo>
                <a:cubicBezTo>
                  <a:pt x="270" y="1105"/>
                  <a:pt x="270" y="1105"/>
                  <a:pt x="277" y="1111"/>
                </a:cubicBezTo>
                <a:close/>
                <a:moveTo>
                  <a:pt x="270" y="1105"/>
                </a:moveTo>
                <a:cubicBezTo>
                  <a:pt x="258" y="1105"/>
                  <a:pt x="258" y="1105"/>
                  <a:pt x="258" y="1105"/>
                </a:cubicBezTo>
                <a:cubicBezTo>
                  <a:pt x="270" y="1105"/>
                  <a:pt x="264" y="1105"/>
                  <a:pt x="270" y="1105"/>
                </a:cubicBezTo>
                <a:close/>
                <a:moveTo>
                  <a:pt x="208" y="1086"/>
                </a:moveTo>
                <a:cubicBezTo>
                  <a:pt x="208" y="1086"/>
                  <a:pt x="214" y="1086"/>
                  <a:pt x="201" y="1080"/>
                </a:cubicBezTo>
                <a:cubicBezTo>
                  <a:pt x="201" y="1080"/>
                  <a:pt x="201" y="1080"/>
                  <a:pt x="201" y="1080"/>
                </a:cubicBezTo>
                <a:cubicBezTo>
                  <a:pt x="189" y="1073"/>
                  <a:pt x="170" y="1067"/>
                  <a:pt x="145" y="1048"/>
                </a:cubicBezTo>
                <a:cubicBezTo>
                  <a:pt x="151" y="1054"/>
                  <a:pt x="151" y="1054"/>
                  <a:pt x="151" y="1054"/>
                </a:cubicBezTo>
                <a:cubicBezTo>
                  <a:pt x="151" y="1054"/>
                  <a:pt x="145" y="1054"/>
                  <a:pt x="139" y="1054"/>
                </a:cubicBezTo>
                <a:cubicBezTo>
                  <a:pt x="145" y="1054"/>
                  <a:pt x="151" y="1054"/>
                  <a:pt x="151" y="1061"/>
                </a:cubicBezTo>
                <a:cubicBezTo>
                  <a:pt x="170" y="1067"/>
                  <a:pt x="195" y="1080"/>
                  <a:pt x="195" y="1080"/>
                </a:cubicBezTo>
                <a:cubicBezTo>
                  <a:pt x="226" y="1092"/>
                  <a:pt x="201" y="1080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26" y="1092"/>
                  <a:pt x="226" y="1092"/>
                  <a:pt x="226" y="1092"/>
                </a:cubicBezTo>
                <a:cubicBezTo>
                  <a:pt x="245" y="1099"/>
                  <a:pt x="245" y="1099"/>
                  <a:pt x="245" y="1099"/>
                </a:cubicBezTo>
                <a:cubicBezTo>
                  <a:pt x="245" y="1099"/>
                  <a:pt x="245" y="1099"/>
                  <a:pt x="270" y="1105"/>
                </a:cubicBezTo>
                <a:cubicBezTo>
                  <a:pt x="258" y="1105"/>
                  <a:pt x="264" y="1105"/>
                  <a:pt x="245" y="1099"/>
                </a:cubicBezTo>
                <a:cubicBezTo>
                  <a:pt x="239" y="1092"/>
                  <a:pt x="226" y="1092"/>
                  <a:pt x="214" y="1086"/>
                </a:cubicBezTo>
                <a:cubicBezTo>
                  <a:pt x="208" y="1086"/>
                  <a:pt x="208" y="1086"/>
                  <a:pt x="208" y="1086"/>
                </a:cubicBezTo>
                <a:close/>
                <a:moveTo>
                  <a:pt x="264" y="1105"/>
                </a:moveTo>
                <a:cubicBezTo>
                  <a:pt x="258" y="1105"/>
                  <a:pt x="251" y="1099"/>
                  <a:pt x="251" y="1099"/>
                </a:cubicBezTo>
                <a:cubicBezTo>
                  <a:pt x="258" y="1105"/>
                  <a:pt x="258" y="1105"/>
                  <a:pt x="264" y="1105"/>
                </a:cubicBezTo>
                <a:close/>
                <a:moveTo>
                  <a:pt x="251" y="1099"/>
                </a:moveTo>
                <a:cubicBezTo>
                  <a:pt x="251" y="1099"/>
                  <a:pt x="251" y="1099"/>
                  <a:pt x="245" y="1099"/>
                </a:cubicBezTo>
                <a:cubicBezTo>
                  <a:pt x="251" y="1099"/>
                  <a:pt x="245" y="1099"/>
                  <a:pt x="251" y="1099"/>
                </a:cubicBezTo>
                <a:close/>
                <a:moveTo>
                  <a:pt x="214" y="1086"/>
                </a:moveTo>
                <a:cubicBezTo>
                  <a:pt x="214" y="1086"/>
                  <a:pt x="214" y="1086"/>
                  <a:pt x="226" y="1092"/>
                </a:cubicBezTo>
                <a:cubicBezTo>
                  <a:pt x="214" y="1086"/>
                  <a:pt x="214" y="1086"/>
                  <a:pt x="214" y="1086"/>
                </a:cubicBezTo>
                <a:close/>
                <a:moveTo>
                  <a:pt x="13" y="876"/>
                </a:moveTo>
                <a:cubicBezTo>
                  <a:pt x="13" y="883"/>
                  <a:pt x="13" y="883"/>
                  <a:pt x="13" y="889"/>
                </a:cubicBezTo>
                <a:cubicBezTo>
                  <a:pt x="13" y="876"/>
                  <a:pt x="13" y="870"/>
                  <a:pt x="0" y="857"/>
                </a:cubicBezTo>
                <a:cubicBezTo>
                  <a:pt x="0" y="857"/>
                  <a:pt x="0" y="857"/>
                  <a:pt x="13" y="876"/>
                </a:cubicBezTo>
                <a:close/>
                <a:moveTo>
                  <a:pt x="107" y="1035"/>
                </a:moveTo>
                <a:cubicBezTo>
                  <a:pt x="120" y="1035"/>
                  <a:pt x="120" y="1035"/>
                  <a:pt x="120" y="1035"/>
                </a:cubicBezTo>
                <a:cubicBezTo>
                  <a:pt x="120" y="1035"/>
                  <a:pt x="120" y="1035"/>
                  <a:pt x="107" y="1035"/>
                </a:cubicBezTo>
                <a:close/>
                <a:moveTo>
                  <a:pt x="70" y="991"/>
                </a:moveTo>
                <a:cubicBezTo>
                  <a:pt x="70" y="991"/>
                  <a:pt x="70" y="991"/>
                  <a:pt x="70" y="984"/>
                </a:cubicBezTo>
                <a:cubicBezTo>
                  <a:pt x="70" y="991"/>
                  <a:pt x="70" y="991"/>
                  <a:pt x="70" y="991"/>
                </a:cubicBezTo>
                <a:cubicBezTo>
                  <a:pt x="76" y="991"/>
                  <a:pt x="76" y="997"/>
                  <a:pt x="76" y="997"/>
                </a:cubicBezTo>
                <a:cubicBezTo>
                  <a:pt x="76" y="997"/>
                  <a:pt x="76" y="991"/>
                  <a:pt x="70" y="991"/>
                </a:cubicBezTo>
                <a:cubicBezTo>
                  <a:pt x="70" y="984"/>
                  <a:pt x="70" y="984"/>
                  <a:pt x="70" y="991"/>
                </a:cubicBezTo>
                <a:close/>
                <a:moveTo>
                  <a:pt x="57" y="978"/>
                </a:moveTo>
                <a:cubicBezTo>
                  <a:pt x="51" y="972"/>
                  <a:pt x="51" y="965"/>
                  <a:pt x="44" y="953"/>
                </a:cubicBezTo>
                <a:cubicBezTo>
                  <a:pt x="51" y="965"/>
                  <a:pt x="51" y="965"/>
                  <a:pt x="57" y="978"/>
                </a:cubicBezTo>
                <a:close/>
                <a:moveTo>
                  <a:pt x="88" y="1016"/>
                </a:moveTo>
                <a:cubicBezTo>
                  <a:pt x="88" y="1016"/>
                  <a:pt x="88" y="1016"/>
                  <a:pt x="88" y="1016"/>
                </a:cubicBezTo>
                <a:cubicBezTo>
                  <a:pt x="88" y="1016"/>
                  <a:pt x="88" y="1016"/>
                  <a:pt x="88" y="1003"/>
                </a:cubicBezTo>
                <a:cubicBezTo>
                  <a:pt x="88" y="1016"/>
                  <a:pt x="88" y="1016"/>
                  <a:pt x="88" y="1016"/>
                </a:cubicBezTo>
                <a:close/>
                <a:moveTo>
                  <a:pt x="38" y="953"/>
                </a:moveTo>
                <a:cubicBezTo>
                  <a:pt x="44" y="953"/>
                  <a:pt x="44" y="953"/>
                  <a:pt x="44" y="953"/>
                </a:cubicBezTo>
                <a:cubicBezTo>
                  <a:pt x="38" y="946"/>
                  <a:pt x="38" y="940"/>
                  <a:pt x="32" y="934"/>
                </a:cubicBezTo>
                <a:cubicBezTo>
                  <a:pt x="32" y="940"/>
                  <a:pt x="38" y="946"/>
                  <a:pt x="38" y="953"/>
                </a:cubicBezTo>
                <a:close/>
                <a:moveTo>
                  <a:pt x="584" y="1168"/>
                </a:moveTo>
                <a:cubicBezTo>
                  <a:pt x="572" y="1162"/>
                  <a:pt x="553" y="1162"/>
                  <a:pt x="540" y="1162"/>
                </a:cubicBezTo>
                <a:cubicBezTo>
                  <a:pt x="546" y="1162"/>
                  <a:pt x="565" y="1162"/>
                  <a:pt x="572" y="1168"/>
                </a:cubicBezTo>
                <a:cubicBezTo>
                  <a:pt x="572" y="1162"/>
                  <a:pt x="565" y="1162"/>
                  <a:pt x="584" y="1168"/>
                </a:cubicBezTo>
                <a:close/>
                <a:moveTo>
                  <a:pt x="63" y="642"/>
                </a:moveTo>
                <a:cubicBezTo>
                  <a:pt x="63" y="648"/>
                  <a:pt x="57" y="648"/>
                  <a:pt x="57" y="648"/>
                </a:cubicBezTo>
                <a:cubicBezTo>
                  <a:pt x="57" y="648"/>
                  <a:pt x="57" y="648"/>
                  <a:pt x="57" y="648"/>
                </a:cubicBezTo>
                <a:cubicBezTo>
                  <a:pt x="57" y="648"/>
                  <a:pt x="57" y="648"/>
                  <a:pt x="63" y="642"/>
                </a:cubicBezTo>
                <a:cubicBezTo>
                  <a:pt x="63" y="642"/>
                  <a:pt x="63" y="642"/>
                  <a:pt x="70" y="635"/>
                </a:cubicBezTo>
                <a:cubicBezTo>
                  <a:pt x="63" y="642"/>
                  <a:pt x="63" y="648"/>
                  <a:pt x="57" y="648"/>
                </a:cubicBezTo>
                <a:cubicBezTo>
                  <a:pt x="63" y="642"/>
                  <a:pt x="63" y="642"/>
                  <a:pt x="63" y="642"/>
                </a:cubicBezTo>
                <a:cubicBezTo>
                  <a:pt x="51" y="661"/>
                  <a:pt x="57" y="648"/>
                  <a:pt x="44" y="667"/>
                </a:cubicBezTo>
                <a:cubicBezTo>
                  <a:pt x="51" y="661"/>
                  <a:pt x="57" y="648"/>
                  <a:pt x="63" y="642"/>
                </a:cubicBezTo>
                <a:cubicBezTo>
                  <a:pt x="63" y="642"/>
                  <a:pt x="63" y="642"/>
                  <a:pt x="63" y="642"/>
                </a:cubicBezTo>
                <a:close/>
                <a:moveTo>
                  <a:pt x="823" y="1162"/>
                </a:moveTo>
                <a:cubicBezTo>
                  <a:pt x="823" y="1162"/>
                  <a:pt x="823" y="1162"/>
                  <a:pt x="823" y="1162"/>
                </a:cubicBezTo>
                <a:cubicBezTo>
                  <a:pt x="823" y="1162"/>
                  <a:pt x="823" y="1162"/>
                  <a:pt x="835" y="1162"/>
                </a:cubicBezTo>
                <a:cubicBezTo>
                  <a:pt x="848" y="1156"/>
                  <a:pt x="848" y="1156"/>
                  <a:pt x="823" y="1162"/>
                </a:cubicBezTo>
                <a:close/>
                <a:moveTo>
                  <a:pt x="170" y="508"/>
                </a:moveTo>
                <a:cubicBezTo>
                  <a:pt x="164" y="527"/>
                  <a:pt x="157" y="527"/>
                  <a:pt x="176" y="508"/>
                </a:cubicBezTo>
                <a:cubicBezTo>
                  <a:pt x="170" y="508"/>
                  <a:pt x="170" y="508"/>
                  <a:pt x="170" y="508"/>
                </a:cubicBezTo>
                <a:close/>
                <a:moveTo>
                  <a:pt x="615" y="1168"/>
                </a:moveTo>
                <a:cubicBezTo>
                  <a:pt x="628" y="1168"/>
                  <a:pt x="628" y="1168"/>
                  <a:pt x="628" y="1168"/>
                </a:cubicBezTo>
                <a:cubicBezTo>
                  <a:pt x="653" y="1168"/>
                  <a:pt x="685" y="1168"/>
                  <a:pt x="703" y="1168"/>
                </a:cubicBezTo>
                <a:cubicBezTo>
                  <a:pt x="647" y="1168"/>
                  <a:pt x="647" y="1168"/>
                  <a:pt x="615" y="1168"/>
                </a:cubicBezTo>
                <a:close/>
                <a:moveTo>
                  <a:pt x="1030" y="1137"/>
                </a:moveTo>
                <a:cubicBezTo>
                  <a:pt x="1042" y="1130"/>
                  <a:pt x="1042" y="1130"/>
                  <a:pt x="1042" y="1130"/>
                </a:cubicBezTo>
                <a:cubicBezTo>
                  <a:pt x="1011" y="1137"/>
                  <a:pt x="1011" y="1137"/>
                  <a:pt x="1011" y="1137"/>
                </a:cubicBezTo>
                <a:cubicBezTo>
                  <a:pt x="1030" y="1137"/>
                  <a:pt x="1030" y="1137"/>
                  <a:pt x="1030" y="1137"/>
                </a:cubicBezTo>
                <a:close/>
                <a:moveTo>
                  <a:pt x="1067" y="1124"/>
                </a:moveTo>
                <a:cubicBezTo>
                  <a:pt x="1099" y="1111"/>
                  <a:pt x="1086" y="1111"/>
                  <a:pt x="1080" y="1124"/>
                </a:cubicBezTo>
                <a:cubicBezTo>
                  <a:pt x="1067" y="1124"/>
                  <a:pt x="1067" y="1124"/>
                  <a:pt x="1067" y="1124"/>
                </a:cubicBezTo>
                <a:close/>
                <a:moveTo>
                  <a:pt x="1419" y="1003"/>
                </a:moveTo>
                <a:cubicBezTo>
                  <a:pt x="1406" y="1016"/>
                  <a:pt x="1412" y="1003"/>
                  <a:pt x="1400" y="1016"/>
                </a:cubicBezTo>
                <a:cubicBezTo>
                  <a:pt x="1419" y="1003"/>
                  <a:pt x="1419" y="1003"/>
                  <a:pt x="1419" y="1003"/>
                </a:cubicBezTo>
                <a:close/>
                <a:moveTo>
                  <a:pt x="308" y="1124"/>
                </a:moveTo>
                <a:cubicBezTo>
                  <a:pt x="308" y="1130"/>
                  <a:pt x="314" y="1130"/>
                  <a:pt x="333" y="1137"/>
                </a:cubicBezTo>
                <a:cubicBezTo>
                  <a:pt x="333" y="1137"/>
                  <a:pt x="333" y="1137"/>
                  <a:pt x="333" y="1130"/>
                </a:cubicBezTo>
                <a:cubicBezTo>
                  <a:pt x="327" y="1130"/>
                  <a:pt x="321" y="1130"/>
                  <a:pt x="314" y="1130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52" y="381"/>
                </a:moveTo>
                <a:cubicBezTo>
                  <a:pt x="358" y="381"/>
                  <a:pt x="358" y="381"/>
                  <a:pt x="358" y="381"/>
                </a:cubicBezTo>
                <a:cubicBezTo>
                  <a:pt x="346" y="381"/>
                  <a:pt x="352" y="381"/>
                  <a:pt x="352" y="381"/>
                </a:cubicBezTo>
                <a:close/>
                <a:moveTo>
                  <a:pt x="590" y="1168"/>
                </a:moveTo>
                <a:cubicBezTo>
                  <a:pt x="590" y="1168"/>
                  <a:pt x="590" y="1168"/>
                  <a:pt x="615" y="1168"/>
                </a:cubicBezTo>
                <a:cubicBezTo>
                  <a:pt x="615" y="1168"/>
                  <a:pt x="609" y="1168"/>
                  <a:pt x="597" y="1168"/>
                </a:cubicBezTo>
                <a:cubicBezTo>
                  <a:pt x="590" y="1168"/>
                  <a:pt x="590" y="1168"/>
                  <a:pt x="590" y="1168"/>
                </a:cubicBezTo>
                <a:close/>
                <a:moveTo>
                  <a:pt x="1055" y="1130"/>
                </a:moveTo>
                <a:cubicBezTo>
                  <a:pt x="1055" y="1130"/>
                  <a:pt x="1055" y="1130"/>
                  <a:pt x="1048" y="1130"/>
                </a:cubicBezTo>
                <a:cubicBezTo>
                  <a:pt x="1055" y="1130"/>
                  <a:pt x="1055" y="1130"/>
                  <a:pt x="1055" y="1130"/>
                </a:cubicBezTo>
                <a:close/>
                <a:moveTo>
                  <a:pt x="1048" y="1130"/>
                </a:moveTo>
                <a:cubicBezTo>
                  <a:pt x="1048" y="1130"/>
                  <a:pt x="1048" y="1130"/>
                  <a:pt x="1042" y="1130"/>
                </a:cubicBezTo>
                <a:cubicBezTo>
                  <a:pt x="1048" y="1130"/>
                  <a:pt x="1048" y="1130"/>
                  <a:pt x="1048" y="1130"/>
                </a:cubicBezTo>
                <a:close/>
                <a:moveTo>
                  <a:pt x="1701" y="781"/>
                </a:moveTo>
                <a:cubicBezTo>
                  <a:pt x="1707" y="769"/>
                  <a:pt x="1707" y="769"/>
                  <a:pt x="1707" y="769"/>
                </a:cubicBezTo>
                <a:cubicBezTo>
                  <a:pt x="1695" y="788"/>
                  <a:pt x="1695" y="788"/>
                  <a:pt x="1695" y="788"/>
                </a:cubicBezTo>
                <a:cubicBezTo>
                  <a:pt x="1701" y="781"/>
                  <a:pt x="1701" y="781"/>
                  <a:pt x="1701" y="781"/>
                </a:cubicBezTo>
                <a:close/>
                <a:moveTo>
                  <a:pt x="390" y="1143"/>
                </a:moveTo>
                <a:cubicBezTo>
                  <a:pt x="390" y="1143"/>
                  <a:pt x="390" y="1143"/>
                  <a:pt x="390" y="1143"/>
                </a:cubicBezTo>
                <a:cubicBezTo>
                  <a:pt x="390" y="1143"/>
                  <a:pt x="390" y="1143"/>
                  <a:pt x="390" y="1143"/>
                </a:cubicBezTo>
                <a:close/>
                <a:moveTo>
                  <a:pt x="371" y="1143"/>
                </a:moveTo>
                <a:cubicBezTo>
                  <a:pt x="383" y="1143"/>
                  <a:pt x="383" y="1143"/>
                  <a:pt x="371" y="1143"/>
                </a:cubicBezTo>
                <a:close/>
                <a:moveTo>
                  <a:pt x="371" y="1143"/>
                </a:moveTo>
                <a:cubicBezTo>
                  <a:pt x="371" y="1143"/>
                  <a:pt x="371" y="1143"/>
                  <a:pt x="371" y="1143"/>
                </a:cubicBezTo>
                <a:cubicBezTo>
                  <a:pt x="371" y="1143"/>
                  <a:pt x="371" y="1143"/>
                  <a:pt x="371" y="1143"/>
                </a:cubicBezTo>
                <a:close/>
                <a:moveTo>
                  <a:pt x="390" y="1143"/>
                </a:moveTo>
                <a:cubicBezTo>
                  <a:pt x="383" y="1143"/>
                  <a:pt x="383" y="1143"/>
                  <a:pt x="383" y="1143"/>
                </a:cubicBezTo>
                <a:cubicBezTo>
                  <a:pt x="383" y="1143"/>
                  <a:pt x="383" y="1143"/>
                  <a:pt x="390" y="1143"/>
                </a:cubicBezTo>
                <a:close/>
                <a:moveTo>
                  <a:pt x="383" y="1143"/>
                </a:moveTo>
                <a:cubicBezTo>
                  <a:pt x="377" y="1143"/>
                  <a:pt x="371" y="1143"/>
                  <a:pt x="371" y="1143"/>
                </a:cubicBezTo>
                <a:cubicBezTo>
                  <a:pt x="377" y="1143"/>
                  <a:pt x="377" y="1143"/>
                  <a:pt x="383" y="1143"/>
                </a:cubicBezTo>
                <a:close/>
                <a:moveTo>
                  <a:pt x="1582" y="902"/>
                </a:moveTo>
                <a:cubicBezTo>
                  <a:pt x="1607" y="883"/>
                  <a:pt x="1607" y="883"/>
                  <a:pt x="1607" y="883"/>
                </a:cubicBezTo>
                <a:cubicBezTo>
                  <a:pt x="1588" y="896"/>
                  <a:pt x="1588" y="896"/>
                  <a:pt x="1588" y="896"/>
                </a:cubicBezTo>
                <a:cubicBezTo>
                  <a:pt x="1582" y="902"/>
                  <a:pt x="1582" y="902"/>
                  <a:pt x="1582" y="902"/>
                </a:cubicBezTo>
                <a:close/>
                <a:moveTo>
                  <a:pt x="120" y="1035"/>
                </a:moveTo>
                <a:cubicBezTo>
                  <a:pt x="107" y="1035"/>
                  <a:pt x="107" y="1029"/>
                  <a:pt x="107" y="1029"/>
                </a:cubicBezTo>
                <a:cubicBezTo>
                  <a:pt x="107" y="1029"/>
                  <a:pt x="107" y="1029"/>
                  <a:pt x="107" y="1029"/>
                </a:cubicBezTo>
                <a:cubicBezTo>
                  <a:pt x="107" y="1035"/>
                  <a:pt x="120" y="1035"/>
                  <a:pt x="120" y="1035"/>
                </a:cubicBezTo>
                <a:close/>
                <a:moveTo>
                  <a:pt x="929" y="1149"/>
                </a:moveTo>
                <a:cubicBezTo>
                  <a:pt x="948" y="1149"/>
                  <a:pt x="948" y="1149"/>
                  <a:pt x="948" y="1149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61" y="1143"/>
                  <a:pt x="961" y="1143"/>
                  <a:pt x="961" y="1143"/>
                </a:cubicBezTo>
                <a:cubicBezTo>
                  <a:pt x="929" y="1149"/>
                  <a:pt x="929" y="1149"/>
                  <a:pt x="929" y="1149"/>
                </a:cubicBezTo>
                <a:close/>
                <a:moveTo>
                  <a:pt x="132" y="1048"/>
                </a:moveTo>
                <a:cubicBezTo>
                  <a:pt x="132" y="1048"/>
                  <a:pt x="132" y="1048"/>
                  <a:pt x="132" y="1048"/>
                </a:cubicBezTo>
                <a:cubicBezTo>
                  <a:pt x="139" y="1048"/>
                  <a:pt x="139" y="1048"/>
                  <a:pt x="132" y="1048"/>
                </a:cubicBezTo>
                <a:close/>
                <a:moveTo>
                  <a:pt x="120" y="1035"/>
                </a:moveTo>
                <a:cubicBezTo>
                  <a:pt x="120" y="1035"/>
                  <a:pt x="107" y="1029"/>
                  <a:pt x="95" y="1022"/>
                </a:cubicBezTo>
                <a:cubicBezTo>
                  <a:pt x="95" y="1022"/>
                  <a:pt x="95" y="1022"/>
                  <a:pt x="107" y="1035"/>
                </a:cubicBezTo>
                <a:cubicBezTo>
                  <a:pt x="107" y="1035"/>
                  <a:pt x="107" y="1035"/>
                  <a:pt x="107" y="1035"/>
                </a:cubicBezTo>
                <a:cubicBezTo>
                  <a:pt x="120" y="1035"/>
                  <a:pt x="126" y="1042"/>
                  <a:pt x="132" y="1048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0" y="1035"/>
                  <a:pt x="120" y="1035"/>
                  <a:pt x="120" y="1035"/>
                </a:cubicBezTo>
                <a:cubicBezTo>
                  <a:pt x="126" y="1042"/>
                  <a:pt x="126" y="1042"/>
                  <a:pt x="126" y="1042"/>
                </a:cubicBezTo>
                <a:cubicBezTo>
                  <a:pt x="126" y="1042"/>
                  <a:pt x="120" y="1042"/>
                  <a:pt x="120" y="1035"/>
                </a:cubicBezTo>
                <a:close/>
                <a:moveTo>
                  <a:pt x="308" y="1124"/>
                </a:moveTo>
                <a:cubicBezTo>
                  <a:pt x="308" y="1124"/>
                  <a:pt x="308" y="1124"/>
                  <a:pt x="308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277" y="1111"/>
                  <a:pt x="277" y="1111"/>
                  <a:pt x="277" y="1111"/>
                </a:cubicBezTo>
                <a:cubicBezTo>
                  <a:pt x="289" y="1111"/>
                  <a:pt x="295" y="1124"/>
                  <a:pt x="302" y="1124"/>
                </a:cubicBezTo>
                <a:cubicBezTo>
                  <a:pt x="289" y="1111"/>
                  <a:pt x="289" y="1111"/>
                  <a:pt x="289" y="1111"/>
                </a:cubicBezTo>
                <a:cubicBezTo>
                  <a:pt x="289" y="1124"/>
                  <a:pt x="289" y="1124"/>
                  <a:pt x="289" y="1124"/>
                </a:cubicBezTo>
                <a:cubicBezTo>
                  <a:pt x="302" y="1124"/>
                  <a:pt x="302" y="1124"/>
                  <a:pt x="302" y="1124"/>
                </a:cubicBezTo>
                <a:cubicBezTo>
                  <a:pt x="308" y="1124"/>
                  <a:pt x="308" y="1124"/>
                  <a:pt x="308" y="1124"/>
                </a:cubicBezTo>
                <a:cubicBezTo>
                  <a:pt x="308" y="1124"/>
                  <a:pt x="308" y="1124"/>
                  <a:pt x="308" y="1124"/>
                </a:cubicBezTo>
                <a:close/>
                <a:moveTo>
                  <a:pt x="396" y="1149"/>
                </a:moveTo>
                <a:cubicBezTo>
                  <a:pt x="408" y="1149"/>
                  <a:pt x="408" y="1149"/>
                  <a:pt x="408" y="1149"/>
                </a:cubicBezTo>
                <a:cubicBezTo>
                  <a:pt x="402" y="1149"/>
                  <a:pt x="402" y="1149"/>
                  <a:pt x="390" y="1143"/>
                </a:cubicBezTo>
                <a:cubicBezTo>
                  <a:pt x="396" y="1149"/>
                  <a:pt x="396" y="1149"/>
                  <a:pt x="396" y="1149"/>
                </a:cubicBezTo>
                <a:close/>
                <a:moveTo>
                  <a:pt x="415" y="1149"/>
                </a:moveTo>
                <a:cubicBezTo>
                  <a:pt x="415" y="1149"/>
                  <a:pt x="415" y="1149"/>
                  <a:pt x="408" y="1149"/>
                </a:cubicBezTo>
                <a:cubicBezTo>
                  <a:pt x="415" y="1149"/>
                  <a:pt x="415" y="1149"/>
                  <a:pt x="415" y="1149"/>
                </a:cubicBezTo>
                <a:close/>
                <a:moveTo>
                  <a:pt x="88" y="1003"/>
                </a:moveTo>
                <a:cubicBezTo>
                  <a:pt x="82" y="1003"/>
                  <a:pt x="82" y="1003"/>
                  <a:pt x="76" y="997"/>
                </a:cubicBezTo>
                <a:cubicBezTo>
                  <a:pt x="82" y="1003"/>
                  <a:pt x="82" y="1003"/>
                  <a:pt x="88" y="1003"/>
                </a:cubicBezTo>
                <a:close/>
                <a:moveTo>
                  <a:pt x="986" y="1143"/>
                </a:moveTo>
                <a:cubicBezTo>
                  <a:pt x="998" y="1137"/>
                  <a:pt x="998" y="1137"/>
                  <a:pt x="998" y="1137"/>
                </a:cubicBezTo>
                <a:cubicBezTo>
                  <a:pt x="973" y="1143"/>
                  <a:pt x="973" y="1143"/>
                  <a:pt x="973" y="1143"/>
                </a:cubicBezTo>
                <a:cubicBezTo>
                  <a:pt x="986" y="1143"/>
                  <a:pt x="986" y="1143"/>
                  <a:pt x="986" y="1143"/>
                </a:cubicBezTo>
                <a:close/>
              </a:path>
            </a:pathLst>
          </a:custGeom>
          <a:solidFill>
            <a:srgbClr val="F07B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5195" tIns="42597" rIns="85195" bIns="42597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73243" y="2635237"/>
            <a:ext cx="3520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Agency funding by category ($M</a:t>
            </a:r>
            <a:r>
              <a:rPr lang="en-US" sz="1600" b="1" dirty="0" smtClean="0"/>
              <a:t>)</a:t>
            </a:r>
            <a:endParaRPr lang="en-US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235083" y="2635237"/>
            <a:ext cx="3520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Agency funding by type ($M)</a:t>
            </a:r>
          </a:p>
        </p:txBody>
      </p:sp>
    </p:spTree>
    <p:extLst>
      <p:ext uri="{BB962C8B-B14F-4D97-AF65-F5344CB8AC3E}">
        <p14:creationId xmlns:p14="http://schemas.microsoft.com/office/powerpoint/2010/main" val="75726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Guiding Principle 4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solidFill>
                  <a:srgbClr val="658D1B"/>
                </a:solidFill>
                <a:latin typeface="Arial" charset="0"/>
                <a:ea typeface="Arial" charset="0"/>
                <a:cs typeface="Arial" charset="0"/>
              </a:rPr>
              <a:t>Create a Performance-Driven System</a:t>
            </a:r>
            <a:endParaRPr lang="en-US" sz="2400" b="1" dirty="0">
              <a:solidFill>
                <a:srgbClr val="658D1B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47039" y="2153920"/>
            <a:ext cx="8229600" cy="74676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5E514D"/>
                </a:solidFill>
                <a:latin typeface="Calibri" charset="0"/>
                <a:ea typeface="Calibri" charset="0"/>
                <a:cs typeface="Calibri" charset="0"/>
              </a:rPr>
              <a:t>Standardize uniform outcomes</a:t>
            </a:r>
            <a:endParaRPr lang="en-US" sz="2400" dirty="0">
              <a:solidFill>
                <a:srgbClr val="5E514D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7039" y="3018918"/>
            <a:ext cx="387603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Arial" charset="0"/>
              <a:buChar char="•"/>
            </a:pPr>
            <a:r>
              <a:rPr lang="en-US" sz="2000" b="1" dirty="0">
                <a:solidFill>
                  <a:srgbClr val="7AA6C5"/>
                </a:solidFill>
                <a:latin typeface="Calibri" charset="0"/>
                <a:ea typeface="Calibri" charset="0"/>
                <a:cs typeface="Calibri" charset="0"/>
              </a:rPr>
              <a:t>Use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 Evidence-based practices for decision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making</a:t>
            </a: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pPr marL="342900" lvl="0" indent="-342900">
              <a:buFont typeface="Arial" charset="0"/>
              <a:buChar char="•"/>
            </a:pPr>
            <a:r>
              <a:rPr lang="en-US" sz="2000" b="1" dirty="0">
                <a:solidFill>
                  <a:srgbClr val="F07B00"/>
                </a:solidFill>
                <a:latin typeface="Calibri" charset="0"/>
                <a:ea typeface="Calibri" charset="0"/>
                <a:cs typeface="Calibri" charset="0"/>
              </a:rPr>
              <a:t>Adopt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 Housing First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philosophy 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across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system</a:t>
            </a: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pPr marL="342900" lvl="0" indent="-342900">
              <a:buFont typeface="Arial" charset="0"/>
              <a:buChar char="•"/>
            </a:pPr>
            <a:r>
              <a:rPr lang="en-US" sz="2000" b="1" dirty="0">
                <a:solidFill>
                  <a:srgbClr val="658D1B"/>
                </a:solidFill>
                <a:latin typeface="Calibri" charset="0"/>
                <a:ea typeface="Calibri" charset="0"/>
                <a:cs typeface="Calibri" charset="0"/>
              </a:rPr>
              <a:t>Monitor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 HMIS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 practices 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and data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quality</a:t>
            </a:r>
            <a:endParaRPr lang="en-US" sz="2000" dirty="0">
              <a:latin typeface="Calibri" charset="0"/>
              <a:ea typeface="Calibri" charset="0"/>
              <a:cs typeface="Calibri" charset="0"/>
            </a:endParaRPr>
          </a:p>
          <a:p>
            <a:pPr marL="342900" lvl="0" indent="-342900">
              <a:buFont typeface="Arial" charset="0"/>
              <a:buChar char="•"/>
            </a:pPr>
            <a:r>
              <a:rPr lang="en-US" sz="2000" b="1" dirty="0">
                <a:solidFill>
                  <a:srgbClr val="7AA6C5"/>
                </a:solidFill>
                <a:latin typeface="Calibri" charset="0"/>
                <a:ea typeface="Calibri" charset="0"/>
                <a:cs typeface="Calibri" charset="0"/>
              </a:rPr>
              <a:t>Establish</a:t>
            </a:r>
            <a:r>
              <a:rPr lang="en-US" sz="2000" b="1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a system </a:t>
            </a:r>
            <a:r>
              <a:rPr lang="en-US" sz="2000" dirty="0" smtClean="0">
                <a:latin typeface="Calibri" charset="0"/>
                <a:ea typeface="Calibri" charset="0"/>
                <a:cs typeface="Calibri" charset="0"/>
              </a:rPr>
              <a:t>performance </a:t>
            </a:r>
            <a:r>
              <a:rPr lang="en-US" sz="2000" dirty="0">
                <a:latin typeface="Calibri" charset="0"/>
                <a:ea typeface="Calibri" charset="0"/>
                <a:cs typeface="Calibri" charset="0"/>
              </a:rPr>
              <a:t>baseline and use data to project goals and timelin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0" y="2834639"/>
            <a:ext cx="0" cy="3154679"/>
          </a:xfrm>
          <a:prstGeom prst="line">
            <a:avLst/>
          </a:prstGeom>
          <a:ln>
            <a:solidFill>
              <a:srgbClr val="E1D5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8961027"/>
              </p:ext>
            </p:extLst>
          </p:nvPr>
        </p:nvGraphicFramePr>
        <p:xfrm>
          <a:off x="5000705" y="2834640"/>
          <a:ext cx="3465960" cy="3599266"/>
        </p:xfrm>
        <a:graphic>
          <a:graphicData uri="http://schemas.openxmlformats.org/drawingml/2006/table">
            <a:tbl>
              <a:tblPr firstRow="1" firstCol="1" bandRow="1">
                <a:tableStyleId>{22838BEF-8BB2-4498-84A7-C5851F593DF1}</a:tableStyleId>
              </a:tblPr>
              <a:tblGrid>
                <a:gridCol w="2345650"/>
                <a:gridCol w="1120310"/>
              </a:tblGrid>
              <a:tr h="73614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016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HUD Performance Measure</a:t>
                      </a:r>
                      <a:endParaRPr lang="en-US" sz="1400" b="0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2016 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tlanta CoC Performance</a:t>
                      </a:r>
                      <a:endParaRPr lang="en-US" sz="1200" b="0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</a:tr>
              <a:tr h="92025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ercentage of exited participants </a:t>
                      </a:r>
                      <a:r>
                        <a:rPr lang="en-US" sz="1200" dirty="0" smtClean="0">
                          <a:effectLst/>
                        </a:rPr>
                        <a:t/>
                      </a:r>
                      <a:br>
                        <a:rPr lang="en-US" sz="1200" dirty="0" smtClean="0">
                          <a:effectLst/>
                        </a:rPr>
                      </a:br>
                      <a:r>
                        <a:rPr lang="en-US" sz="1200" dirty="0" smtClean="0">
                          <a:effectLst/>
                        </a:rPr>
                        <a:t>with </a:t>
                      </a:r>
                      <a:r>
                        <a:rPr lang="en-US" sz="1200" dirty="0">
                          <a:effectLst/>
                        </a:rPr>
                        <a:t>increased income at </a:t>
                      </a:r>
                      <a:r>
                        <a:rPr lang="en-US" sz="1200" dirty="0" smtClean="0">
                          <a:effectLst/>
                        </a:rPr>
                        <a:t>time of exit</a:t>
                      </a:r>
                      <a:r>
                        <a:rPr lang="en-US" sz="1200" baseline="0" dirty="0" smtClean="0">
                          <a:effectLst/>
                        </a:rPr>
                        <a:t> </a:t>
                      </a:r>
                      <a:r>
                        <a:rPr lang="en-US" sz="1200" dirty="0" smtClean="0">
                          <a:effectLst/>
                        </a:rPr>
                        <a:t> (all </a:t>
                      </a:r>
                      <a:r>
                        <a:rPr lang="en-US" sz="1200" dirty="0" err="1" smtClean="0">
                          <a:effectLst/>
                        </a:rPr>
                        <a:t>CoC</a:t>
                      </a:r>
                      <a:r>
                        <a:rPr lang="en-US" sz="1200" dirty="0" smtClean="0">
                          <a:effectLst/>
                        </a:rPr>
                        <a:t> funded projects) </a:t>
                      </a:r>
                      <a:endParaRPr lang="en-US" sz="1200" b="1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43%</a:t>
                      </a:r>
                      <a:endParaRPr lang="en-US" sz="1200" b="0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30000"/>
                      </a:srgbClr>
                    </a:solidFill>
                  </a:tcPr>
                </a:tc>
              </a:tr>
              <a:tr h="7362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ercentage of participants exiting emergency </a:t>
                      </a:r>
                      <a:r>
                        <a:rPr lang="en-US" sz="1200" dirty="0" smtClean="0">
                          <a:effectLst/>
                        </a:rPr>
                        <a:t>shelter </a:t>
                      </a:r>
                      <a:r>
                        <a:rPr lang="en-US" sz="1200" dirty="0">
                          <a:effectLst/>
                        </a:rPr>
                        <a:t>to </a:t>
                      </a:r>
                      <a:r>
                        <a:rPr lang="en-US" sz="1200" dirty="0" smtClean="0">
                          <a:effectLst/>
                        </a:rPr>
                        <a:t>homelessness/emergency</a:t>
                      </a:r>
                      <a:r>
                        <a:rPr lang="en-US" sz="1200" baseline="0" dirty="0" smtClean="0">
                          <a:effectLst/>
                        </a:rPr>
                        <a:t> shelter </a:t>
                      </a:r>
                      <a:endParaRPr lang="en-US" sz="1200" b="1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85%</a:t>
                      </a:r>
                      <a:endParaRPr lang="en-US" sz="1200" b="0" i="0" dirty="0"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</a:tr>
              <a:tr h="6033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ercent of participants exiting transitional </a:t>
                      </a:r>
                      <a:r>
                        <a:rPr lang="en-US" sz="1200" dirty="0" smtClean="0">
                          <a:effectLst/>
                        </a:rPr>
                        <a:t>shelter </a:t>
                      </a:r>
                      <a:r>
                        <a:rPr lang="en-US" sz="1200" dirty="0">
                          <a:effectLst/>
                        </a:rPr>
                        <a:t>to homelessness</a:t>
                      </a:r>
                      <a:endParaRPr lang="en-US" sz="1200" b="1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3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52%</a:t>
                      </a:r>
                      <a:endParaRPr lang="en-US" sz="1200" b="0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30000"/>
                      </a:srgbClr>
                    </a:solidFill>
                  </a:tcPr>
                </a:tc>
              </a:tr>
              <a:tr h="6033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ercentage of  PSH participants who either remained in PSH or exited to permanent destinations</a:t>
                      </a:r>
                      <a:endParaRPr lang="en-US" sz="1200" b="1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91%</a:t>
                      </a:r>
                      <a:endParaRPr lang="en-US" sz="1200" b="0" i="0" dirty="0"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59988" marR="59988" marT="0" marB="0">
                    <a:solidFill>
                      <a:srgbClr val="7AA6C5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2400" y="283031"/>
            <a:ext cx="1219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b="1" dirty="0" smtClean="0">
                <a:solidFill>
                  <a:schemeClr val="bg1">
                    <a:alpha val="27000"/>
                  </a:schemeClr>
                </a:solidFill>
              </a:rPr>
              <a:t>4</a:t>
            </a:r>
            <a:endParaRPr lang="en-US" sz="7200" b="1" dirty="0">
              <a:solidFill>
                <a:schemeClr val="bg1">
                  <a:alpha val="27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91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sz="half" idx="2"/>
          </p:nvPr>
        </p:nvSpPr>
        <p:spPr>
          <a:xfrm>
            <a:off x="533400" y="2438400"/>
            <a:ext cx="8231188" cy="3429000"/>
          </a:xfrm>
        </p:spPr>
        <p:txBody>
          <a:bodyPr/>
          <a:lstStyle/>
          <a:p>
            <a:r>
              <a:rPr lang="en-US" sz="2000" b="1" dirty="0" smtClean="0">
                <a:solidFill>
                  <a:srgbClr val="5E514D"/>
                </a:solidFill>
              </a:rPr>
              <a:t>&lt; 30% of individuals </a:t>
            </a:r>
            <a:r>
              <a:rPr lang="en-US" sz="2000" dirty="0" smtClean="0">
                <a:solidFill>
                  <a:srgbClr val="5E514D"/>
                </a:solidFill>
              </a:rPr>
              <a:t>in permanent supportive housing (PSH) are insured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HUD pays operating, not </a:t>
            </a:r>
            <a:r>
              <a:rPr lang="en-US" sz="2000" b="1" dirty="0" smtClean="0">
                <a:solidFill>
                  <a:srgbClr val="5E514D"/>
                </a:solidFill>
              </a:rPr>
              <a:t>ALL services</a:t>
            </a:r>
            <a:r>
              <a:rPr lang="en-US" sz="2000" dirty="0" smtClean="0">
                <a:solidFill>
                  <a:srgbClr val="5E514D"/>
                </a:solidFill>
              </a:rPr>
              <a:t>; philanthropy pays capital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PSH cannot be sustained </a:t>
            </a:r>
            <a:r>
              <a:rPr lang="en-US" sz="2000" dirty="0" smtClean="0">
                <a:solidFill>
                  <a:srgbClr val="5E514D"/>
                </a:solidFill>
              </a:rPr>
              <a:t>without ongoing revenue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Insufficient capacity </a:t>
            </a:r>
            <a:r>
              <a:rPr lang="en-US" sz="2000" dirty="0" smtClean="0">
                <a:solidFill>
                  <a:srgbClr val="5E514D"/>
                </a:solidFill>
              </a:rPr>
              <a:t>with current indigent providers, e.g., ACT, ICM</a:t>
            </a:r>
          </a:p>
          <a:p>
            <a:r>
              <a:rPr lang="en-US" sz="2000" dirty="0" smtClean="0">
                <a:solidFill>
                  <a:srgbClr val="5E514D"/>
                </a:solidFill>
              </a:rPr>
              <a:t>Waiver can be designed to pay for </a:t>
            </a:r>
            <a:r>
              <a:rPr lang="en-US" sz="2000" b="1" dirty="0" smtClean="0">
                <a:solidFill>
                  <a:srgbClr val="5E514D"/>
                </a:solidFill>
              </a:rPr>
              <a:t>services</a:t>
            </a:r>
            <a:r>
              <a:rPr lang="en-US" sz="2000" dirty="0" smtClean="0">
                <a:solidFill>
                  <a:srgbClr val="5E514D"/>
                </a:solidFill>
              </a:rPr>
              <a:t> that keep people in housing, e.g., pre-tenancy services, move-in support, tenancy support + MH/SA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Return on investment</a:t>
            </a:r>
            <a:r>
              <a:rPr lang="en-US" sz="2000" dirty="0" smtClean="0">
                <a:solidFill>
                  <a:srgbClr val="5E514D"/>
                </a:solidFill>
              </a:rPr>
              <a:t>: $40,000 on the streets vs. $19,600 in housing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Road already paved</a:t>
            </a:r>
            <a:r>
              <a:rPr lang="en-US" sz="2000" dirty="0" smtClean="0">
                <a:solidFill>
                  <a:srgbClr val="5E514D"/>
                </a:solidFill>
              </a:rPr>
              <a:t>: Houston, Louisiana, Washington, Massachusetts </a:t>
            </a:r>
          </a:p>
          <a:p>
            <a:r>
              <a:rPr lang="en-US" sz="2000" b="1" dirty="0" smtClean="0">
                <a:solidFill>
                  <a:srgbClr val="5E514D"/>
                </a:solidFill>
              </a:rPr>
              <a:t>Homestretch funds </a:t>
            </a:r>
            <a:r>
              <a:rPr lang="en-US" sz="2000" dirty="0" smtClean="0">
                <a:solidFill>
                  <a:srgbClr val="5E514D"/>
                </a:solidFill>
              </a:rPr>
              <a:t>are finite and will only jumpstart services</a:t>
            </a:r>
            <a:endParaRPr lang="en-US" sz="2000" dirty="0">
              <a:solidFill>
                <a:srgbClr val="5E514D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1447800"/>
            <a:ext cx="8229600" cy="706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 smtClean="0">
                <a:solidFill>
                  <a:srgbClr val="658D1B"/>
                </a:solidFill>
                <a:latin typeface="+mn-lt"/>
                <a:ea typeface="Arial" charset="0"/>
                <a:cs typeface="Arial" charset="0"/>
              </a:rPr>
              <a:t>Why Medicaid Waiver?</a:t>
            </a:r>
            <a:endParaRPr lang="en-US" sz="3600" b="1" dirty="0">
              <a:solidFill>
                <a:srgbClr val="658D1B"/>
              </a:solidFill>
              <a:latin typeface="+mn-lt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95851" y="633250"/>
            <a:ext cx="8229600" cy="533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 smtClean="0">
                <a:solidFill>
                  <a:schemeClr val="bg1"/>
                </a:solidFill>
              </a:rPr>
              <a:t>Medicaid</a:t>
            </a:r>
            <a:endParaRPr lang="en-US" sz="2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807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419100" y="2286000"/>
            <a:ext cx="8305800" cy="3581400"/>
          </a:xfrm>
        </p:spPr>
        <p:txBody>
          <a:bodyPr/>
          <a:lstStyle/>
          <a:p>
            <a:r>
              <a:rPr lang="en-US" sz="2000" b="1" dirty="0" smtClean="0"/>
              <a:t>Airbnb tax: </a:t>
            </a:r>
            <a:r>
              <a:rPr lang="en-US" sz="2000" dirty="0" smtClean="0"/>
              <a:t>Chicago and Los Angeles; already generated $2.8MM in Chicago in first 12 months –supports family homelessness</a:t>
            </a:r>
          </a:p>
          <a:p>
            <a:r>
              <a:rPr lang="en-US" sz="2000" b="1" dirty="0" smtClean="0"/>
              <a:t>Miami Restaurant tax: </a:t>
            </a:r>
            <a:r>
              <a:rPr lang="en-US" sz="2000" dirty="0" smtClean="0"/>
              <a:t>1% on restaurants with revenue &gt;$400K; generates $</a:t>
            </a:r>
            <a:r>
              <a:rPr lang="en-US" sz="2000" dirty="0" smtClean="0"/>
              <a:t>7MM/year</a:t>
            </a:r>
            <a:endParaRPr lang="en-US" sz="2000" dirty="0" smtClean="0"/>
          </a:p>
          <a:p>
            <a:r>
              <a:rPr lang="en-US" sz="2000" b="1" dirty="0" smtClean="0"/>
              <a:t>WA Family Fund: </a:t>
            </a:r>
            <a:r>
              <a:rPr lang="en-US" sz="2000" dirty="0" smtClean="0"/>
              <a:t>$2MM general fund matched by Gates foundation = $5MM annually</a:t>
            </a:r>
          </a:p>
          <a:p>
            <a:r>
              <a:rPr lang="en-US" sz="2000" b="1" dirty="0" smtClean="0"/>
              <a:t>Utah Homeless Trust: </a:t>
            </a:r>
            <a:r>
              <a:rPr lang="en-US" sz="2000" dirty="0" smtClean="0"/>
              <a:t>legislated optional donation on individual tax return form (limited return)</a:t>
            </a:r>
          </a:p>
          <a:p>
            <a:r>
              <a:rPr lang="en-US" sz="2000" b="1" dirty="0" smtClean="0"/>
              <a:t>State Housing Trust Funds: </a:t>
            </a:r>
            <a:r>
              <a:rPr lang="en-US" sz="2000" dirty="0" smtClean="0"/>
              <a:t>generate additional money from sustaining sources e.g. IL real estate transfer fee ($</a:t>
            </a:r>
            <a:r>
              <a:rPr lang="en-US" sz="2000" dirty="0" smtClean="0"/>
              <a:t>4.6MM/year), </a:t>
            </a:r>
            <a:r>
              <a:rPr lang="en-US" sz="2000" dirty="0" smtClean="0"/>
              <a:t>SC doc recording tax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152400" y="609600"/>
            <a:ext cx="48369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Long term sustainability critical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" y="1386245"/>
            <a:ext cx="8534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rgbClr val="658D1B"/>
                </a:solidFill>
              </a:rPr>
              <a:t>Innovative funding approaches </a:t>
            </a:r>
          </a:p>
        </p:txBody>
      </p:sp>
    </p:spTree>
    <p:extLst>
      <p:ext uri="{BB962C8B-B14F-4D97-AF65-F5344CB8AC3E}">
        <p14:creationId xmlns:p14="http://schemas.microsoft.com/office/powerpoint/2010/main" val="55807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>
                <a:solidFill>
                  <a:srgbClr val="AB7942"/>
                </a:solidFill>
              </a:rPr>
              <a:t>The rub:</a:t>
            </a:r>
          </a:p>
          <a:p>
            <a:r>
              <a:rPr lang="en-US" b="1" dirty="0" smtClean="0">
                <a:solidFill>
                  <a:srgbClr val="AB7942"/>
                </a:solidFill>
              </a:rPr>
              <a:t>Stigma</a:t>
            </a:r>
          </a:p>
          <a:p>
            <a:r>
              <a:rPr lang="en-US" b="1" dirty="0" smtClean="0">
                <a:solidFill>
                  <a:srgbClr val="AB7942"/>
                </a:solidFill>
              </a:rPr>
              <a:t>Stereotypes</a:t>
            </a:r>
          </a:p>
          <a:p>
            <a:r>
              <a:rPr lang="en-US" b="1" dirty="0" smtClean="0">
                <a:solidFill>
                  <a:srgbClr val="AB7942"/>
                </a:solidFill>
              </a:rPr>
              <a:t>$$$</a:t>
            </a:r>
          </a:p>
          <a:p>
            <a:r>
              <a:rPr lang="en-US" b="1" dirty="0" smtClean="0">
                <a:solidFill>
                  <a:srgbClr val="AB7942"/>
                </a:solidFill>
              </a:rPr>
              <a:t>NIMBYism 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7200" y="2865344"/>
            <a:ext cx="2590800" cy="1706656"/>
          </a:xfrm>
        </p:spPr>
        <p:txBody>
          <a:bodyPr/>
          <a:lstStyle/>
          <a:p>
            <a:r>
              <a:rPr lang="en-US" b="1" dirty="0"/>
              <a:t>Affordable </a:t>
            </a:r>
            <a:r>
              <a:rPr lang="en-US" b="1" dirty="0" smtClean="0"/>
              <a:t>Housing </a:t>
            </a:r>
            <a:r>
              <a:rPr lang="en-US" b="1" dirty="0"/>
              <a:t>vs. </a:t>
            </a:r>
            <a:r>
              <a:rPr lang="en-US" b="1" dirty="0" smtClean="0"/>
              <a:t>Homelessnes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30780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57199" y="1143000"/>
            <a:ext cx="8229600" cy="5334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Funding Was Equally Inefficient</a:t>
            </a:r>
            <a:endParaRPr lang="en-US" sz="3200" b="1" dirty="0">
              <a:solidFill>
                <a:srgbClr val="658D1B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47039" y="1656080"/>
            <a:ext cx="8229600" cy="32512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chemeClr val="accent6"/>
                </a:solidFill>
                <a:ea typeface="Arial" charset="0"/>
                <a:cs typeface="Arial" charset="0"/>
              </a:rPr>
              <a:t>the way a homeless person accessed services previously: </a:t>
            </a:r>
            <a:endParaRPr lang="en-US" sz="1800" dirty="0">
              <a:solidFill>
                <a:schemeClr val="accent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063496"/>
            <a:ext cx="7860792" cy="441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75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397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1000" y="1371600"/>
            <a:ext cx="8229600" cy="685800"/>
          </a:xfrm>
          <a:prstGeom prst="rect">
            <a:avLst/>
          </a:prstGeom>
        </p:spPr>
        <p:txBody>
          <a:bodyPr/>
          <a:lstStyle/>
          <a:p>
            <a:r>
              <a:rPr lang="en-US" sz="3200" b="1" dirty="0" smtClean="0">
                <a:solidFill>
                  <a:srgbClr val="658D1B"/>
                </a:solidFill>
              </a:rPr>
              <a:t>Evolution to a Coordinated System</a:t>
            </a:r>
            <a:endParaRPr lang="en-US" sz="3200" b="1" dirty="0">
              <a:solidFill>
                <a:srgbClr val="658D1B"/>
              </a:solidFill>
            </a:endParaRPr>
          </a:p>
        </p:txBody>
      </p:sp>
      <p:graphicFrame>
        <p:nvGraphicFramePr>
          <p:cNvPr id="3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99473714"/>
              </p:ext>
            </p:extLst>
          </p:nvPr>
        </p:nvGraphicFramePr>
        <p:xfrm>
          <a:off x="749300" y="1981200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45493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Image result for housing fir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599" y="1676399"/>
            <a:ext cx="8036917" cy="4114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04800" y="457200"/>
            <a:ext cx="6248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Using Housing First as our founda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24000" y="6019800"/>
            <a:ext cx="7122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ource: How’s Nashville, Housing to </a:t>
            </a:r>
            <a:r>
              <a:rPr lang="en-US" sz="1600" dirty="0"/>
              <a:t>End Homelessness, </a:t>
            </a:r>
            <a:r>
              <a:rPr lang="en-US" sz="1600" dirty="0">
                <a:hlinkClick r:id="rId3"/>
              </a:rPr>
              <a:t>http://howsnashville.org/2016/05/31/housing-first</a:t>
            </a:r>
            <a:r>
              <a:rPr lang="en-US" sz="1600" dirty="0" smtClean="0">
                <a:hlinkClick r:id="rId3"/>
              </a:rPr>
              <a:t>/</a:t>
            </a:r>
            <a:r>
              <a:rPr lang="en-US" sz="1600" dirty="0" smtClean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3395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 txBox="1">
            <a:spLocks/>
          </p:cNvSpPr>
          <p:nvPr/>
        </p:nvSpPr>
        <p:spPr>
          <a:xfrm>
            <a:off x="533400" y="1524000"/>
            <a:ext cx="8194466" cy="4572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u="sng" dirty="0" smtClean="0"/>
              <a:t>Emergency </a:t>
            </a:r>
            <a:r>
              <a:rPr lang="en-US" sz="1400" u="sng" dirty="0"/>
              <a:t>shelter</a:t>
            </a:r>
            <a:r>
              <a:rPr lang="en-US" sz="1400" dirty="0"/>
              <a:t> – short term bridge </a:t>
            </a:r>
            <a:r>
              <a:rPr lang="en-US" sz="1400" dirty="0" smtClean="0"/>
              <a:t>housing to other assistance; </a:t>
            </a:r>
            <a:r>
              <a:rPr lang="en-US" sz="1400" dirty="0"/>
              <a:t>for </a:t>
            </a:r>
            <a:r>
              <a:rPr lang="en-US" sz="1400" b="1" dirty="0">
                <a:solidFill>
                  <a:schemeClr val="accent3"/>
                </a:solidFill>
              </a:rPr>
              <a:t>all</a:t>
            </a:r>
          </a:p>
          <a:p>
            <a:r>
              <a:rPr lang="en-US" sz="1400" u="sng" dirty="0"/>
              <a:t>Transitional housing </a:t>
            </a:r>
            <a:r>
              <a:rPr lang="en-US" sz="1400" dirty="0"/>
              <a:t>– long term temporary housing (6-24 months) with intensive services.  Ideally suited for </a:t>
            </a:r>
            <a:r>
              <a:rPr lang="en-US" sz="1400" b="1" dirty="0">
                <a:solidFill>
                  <a:schemeClr val="accent3"/>
                </a:solidFill>
              </a:rPr>
              <a:t>domestic violence, youth, and substance abuse </a:t>
            </a:r>
          </a:p>
          <a:p>
            <a:r>
              <a:rPr lang="en-US" sz="1400" u="sng" dirty="0"/>
              <a:t>Rapid rehousing</a:t>
            </a:r>
            <a:r>
              <a:rPr lang="en-US" sz="1400" dirty="0"/>
              <a:t> – Time-limited rental assistance and case management to help people experiencing</a:t>
            </a:r>
          </a:p>
          <a:p>
            <a:r>
              <a:rPr lang="en-US" sz="1400" dirty="0"/>
              <a:t>homelessness </a:t>
            </a:r>
            <a:r>
              <a:rPr lang="en-US" sz="1400" dirty="0" smtClean="0"/>
              <a:t>find </a:t>
            </a:r>
            <a:r>
              <a:rPr lang="en-US" sz="1400" dirty="0"/>
              <a:t>private-market housing</a:t>
            </a:r>
            <a:r>
              <a:rPr lang="en-US" sz="1400" dirty="0" smtClean="0"/>
              <a:t>  &amp; quickly </a:t>
            </a:r>
            <a:r>
              <a:rPr lang="en-US" sz="1400" dirty="0"/>
              <a:t>re-house and stabilize </a:t>
            </a:r>
            <a:r>
              <a:rPr lang="en-US" sz="1400" b="1" dirty="0">
                <a:solidFill>
                  <a:schemeClr val="accent3"/>
                </a:solidFill>
              </a:rPr>
              <a:t>individuals and families</a:t>
            </a:r>
          </a:p>
          <a:p>
            <a:r>
              <a:rPr lang="en-US" sz="1400" u="sng" dirty="0"/>
              <a:t>Permanent  Supportive Housing </a:t>
            </a:r>
            <a:r>
              <a:rPr lang="en-US" sz="1400" dirty="0"/>
              <a:t>– evidence based housing intervention that combines non-time-limited housing assistance with intensive wrap around supportive services.  Ideal for </a:t>
            </a:r>
            <a:r>
              <a:rPr lang="en-US" sz="1400" b="1" dirty="0">
                <a:solidFill>
                  <a:schemeClr val="accent3"/>
                </a:solidFill>
              </a:rPr>
              <a:t>chronically homeless</a:t>
            </a:r>
          </a:p>
          <a:p>
            <a:r>
              <a:rPr lang="en-US" sz="1400" u="sng" dirty="0" smtClean="0"/>
              <a:t>Chronic homelessness</a:t>
            </a:r>
            <a:r>
              <a:rPr lang="en-US" sz="1400" dirty="0" smtClean="0"/>
              <a:t>—an individual who has a disabling condition AND has been homeless for the last 12 months or had 4 episodes in last 3 years = 12 month</a:t>
            </a:r>
          </a:p>
          <a:p>
            <a:r>
              <a:rPr lang="en-US" sz="1400" u="sng" dirty="0" smtClean="0"/>
              <a:t>Continuum of Care, or CoC</a:t>
            </a:r>
            <a:r>
              <a:rPr lang="en-US" sz="1400" dirty="0" smtClean="0"/>
              <a:t>—Regional or local planning body that coordinates housing and services</a:t>
            </a:r>
          </a:p>
          <a:p>
            <a:pPr marL="0" indent="0">
              <a:buNone/>
            </a:pPr>
            <a:r>
              <a:rPr lang="en-US" sz="1400" dirty="0" smtClean="0"/>
              <a:t>        funding from the US Department of Housing and Urban Development (HUD).</a:t>
            </a:r>
          </a:p>
          <a:p>
            <a:r>
              <a:rPr lang="en-US" sz="1400" u="sng" dirty="0" smtClean="0"/>
              <a:t>Coordinated entry</a:t>
            </a:r>
            <a:r>
              <a:rPr lang="en-US" sz="1400" dirty="0" smtClean="0"/>
              <a:t>—A process through which people experiencing or at risk of homelessness access resources in the homeless assistance system. It includes access points for all types of assistance, a standardized assessment process, and referrals to appropriate housing and community services. Coordinated entry is required by HUD of every CoC.</a:t>
            </a:r>
          </a:p>
          <a:p>
            <a:r>
              <a:rPr lang="en-US" sz="1400" u="sng" dirty="0" smtClean="0"/>
              <a:t>Housing first</a:t>
            </a:r>
            <a:r>
              <a:rPr lang="en-US" sz="1400" dirty="0" smtClean="0"/>
              <a:t>—evidence based practice and philosophical approach to housing individuals experiencing homelessness without preconditions and barriers to entry such as sobriety, treatment or service participation requirements </a:t>
            </a:r>
          </a:p>
          <a:p>
            <a:endParaRPr lang="en-US" sz="1800" dirty="0"/>
          </a:p>
          <a:p>
            <a:pPr marL="0" indent="0">
              <a:buNone/>
            </a:pPr>
            <a:endParaRPr lang="en-US" sz="1800" b="1" dirty="0">
              <a:solidFill>
                <a:schemeClr val="accent3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52400" y="546100"/>
            <a:ext cx="6019800" cy="52070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chemeClr val="bg1"/>
                </a:solidFill>
              </a:rPr>
              <a:t>Key Terms Glossary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858000" y="640080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400"/>
            </a:lvl1pPr>
          </a:lstStyle>
          <a:p>
            <a:fld id="{C10C598D-FAAD-4214-9D2C-06D03038B17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90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the Numb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914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25589697"/>
              </p:ext>
            </p:extLst>
          </p:nvPr>
        </p:nvGraphicFramePr>
        <p:xfrm>
          <a:off x="457200" y="1905000"/>
          <a:ext cx="7924800" cy="437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2400" y="457200"/>
            <a:ext cx="8229600" cy="609600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3200" dirty="0" smtClean="0">
                <a:solidFill>
                  <a:schemeClr val="bg1"/>
                </a:solidFill>
              </a:rPr>
              <a:t>Historical HUD Homeless Count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2514600" y="6400800"/>
            <a:ext cx="46482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**No HUD Count was Conducted in 2012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62000" y="1295400"/>
            <a:ext cx="847082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anta’s unsheltered count has been reduced by over 67%</a:t>
            </a:r>
          </a:p>
          <a:p>
            <a:pPr algn="ctr" defTabSz="914400"/>
            <a:r>
              <a:rPr lang="en-US" sz="16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count has decreased by more than 40%</a:t>
            </a:r>
            <a:endParaRPr lang="en-US" sz="16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78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09600" y="1214149"/>
            <a:ext cx="8154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658D1B"/>
                </a:solidFill>
              </a:rPr>
              <a:t>What Homelessness In Atlanta Looks Like:</a:t>
            </a:r>
            <a:endParaRPr lang="en-US" sz="3200" b="1" dirty="0">
              <a:solidFill>
                <a:srgbClr val="658D1B"/>
              </a:solidFill>
            </a:endParaRPr>
          </a:p>
        </p:txBody>
      </p:sp>
      <p:pic>
        <p:nvPicPr>
          <p:cNvPr id="1026" name="8AA4983D-3E51-45EC-A1F4-C044F7161564" descr="0342A393-862F-4352-9C99-0AC74298331F@attloc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4801" y="1748285"/>
            <a:ext cx="8459788" cy="467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284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H/Log8u2PUbiurOUl4y41FGj5yjliKCShl4xhQqwDwpWbDC9XLH8x0EIVXQIdCN7XyyXhpGzmSkl8F5ABfwMtXFAGWR2g4QQXseRWOH7Q4gQSbHxVDLdWcugVhlgskX3QNZFgHAIGb+fTG+cewQ1ClL2n1QPq4S8DhkM2vsCGIlwePdk6vFziTUrO8nyK0dVT9HOoSKhoKy8hTNtDF3EZKL53Y4c6IF14OjELM0vUH//rzGnbPfZJSPEvEss32hpBIrQgP75jXkoMcC8E5rZvSrGuH4tpE+MYoLYNoTavhuDbmgEJTan9k8d47PhfVxHJKIZP+gaiCm7l54/NnvswM1rCLtvo2foUZrvun243wyHDgJ7IE0liIkYCL3fculJNMJ9Ro1Wv6ghFQVvjLAxFPat4fUPEd4GpF4snwcpom3HbhR2CkaTQpIBwhpmd0la/I7g2q1h5bfR4itZZHQ+vw29ojkUPR4xH9MpAPsIZEBhq/MwraE6kmbsZDcdPXKdQizWQ36dQVYdvm5RbC56fx//su2SMWifuH1iq1n83UqoeJuc1OfCT/VTI6Xb5LNBUjqM8V6x0S8lJVueQUlWZirw+fxfti0JmgOIBvD5YWQn7wShi+WYEEcbFYNnZOIQ7Gv0aoiXp0Yd7eDeEJmou0yqlrojyRprCrZw1PVF5NcxXU3toMXdZzHlP4ilMEY+VnmPdnaEfmnttYW7XcYQp00enhELxwE96vCxDkKDOVwCGeobtDdm5HHU2M99MF7c1vJEh/jFSbg4GpJoFdPop1HKR7FzGswSOOyBlHTvkJ5OGBb34YeKPzC1JQYCGoPd8cS/5Yf+XQtrmknQ2HMX8BQWA+/ZlRhS4cMf7pUk8ffPbC10oozIUbiTqWs0VyeH52VB2OkHAI8jo2rYeegOMkE+PtkyxUPQy1MVcb/81VSiuYawtiF5v4IbJZ3ZZX4xr8NvnKnO4ENWZikdYtrrxzXd7dMEcVyAkcRS1ZM+6xJkxn57GozbZz2S7+mMApRz+krRlv2q+0scN+VwRthver0fXujpKMrk0o2Nr/AIaGueaP7b9BiSDi7T+p7euY6NPqMue9nYzEUwVj/7qpdXWBtfBXovTMLrtkWBiwCnH+IQHwR63LycN0wvy1Ufg7IubReUai6O0wce7qKCmAZ1JWUE9BljBvtvjO2i5uf82A1fY5MZj1gDpV6kQophDH/dkodYYyPkhCc5P0JGhJLr2GwE2Ar0hAoflrLUVW6qmFC2qQLwu/6symalxmAPWKKHqSxAV703dFs3ByI+XMrQFdfUFLHs+R/KhiVPMRXqxF1tAbyFRh9KV+7kxqw6WNeSl3lYleua1mOwGr+l5kr2IZ/KPvvvlKmowmZ+LKmHo9nfRp1CoEmHrxzkVkAA6Z7wA0inUMEmk64wucH4an9fh6+jX94Tz8EpvzOIdQdYEEBh+kcWbuwTiU8312/DYZGkaO6ZA+nfl0meuX8TAlcXoBO9pPWQkhgqykEiuRpiwnbDNs+urry+8xbfFMUzpoogh5pVU3MJeLj57Hf3PjOB+GlRn0kom6GyweuETNThtNOYtHVC1/yVa9JQ9f2Jrm6XSrBOcYIp2QLzOhcWI7FnUgb+eX7dpqG+TBy11gnezTILEpHCirRnYQTMDE0OKvfO5u+/1wdw56qG8nCEPsm5pVNMiTderVF47XY+R7fTzNYus6jSjoz1M69m+F8gNjPdQXKxbCmZnlRC5QErfuAr+d8S2zlxt31WPOmtYIGhsEm8lkX3CS4ffmXLfuheMkAjuSXXGcHCh9Dp5y9Z1i1OG0QKl7373YREZiCWW8r1v3F1Efi5Qx19fCVGwMj9xgrGqkCHHjFsbeS2mrtc2hhRGmULGG6izSRm27B1XsCuBBqcNGmuRmx27vgnqweiZ4+1yW4lCborGQ5nn+lPFArgJ+PsERkfSK2VZNo0j2Q/muK1yjINHCbjx72SxxOvi10cfOz+lLDifRVCkL226ur+x/cEnNiL62z21LqY1fkJ9L2lfkB9eCtpUHnTb8aAjh4QqqSWrrml0skbtbdvKiBaA1LvkxQMJm+fV59+hu2Fd7jV1+aeAe+sJrB0S7LWN9O58+gRAK3ThtsuM11LLsoqbkA4qIMfptFIL5SJ6oiBuifPZcKej+YvYiMf+ciWk+9eToC9BoQQ+h3EOEWLxxvJ7l+/JH6yu/MP3dPsbKseOoaoYNgPDAHKklho6jyObZn4JQgaWaOxCgSc++D2WfscdZLF/rqaCP1SxsOA6l5G5wYK5uZEKoNlzKWPMGCPT+A699ut/Zugc2+Oxw/uB/l+AEYOTiali80uAKzktvcRO0lWM28Gz4mTlI+u3Ry3pyIZpW992J7jpA9oxWe/a4CW0c8FJ5BRDooeQrBIpAE7a7L4HbTA+bko3kmVbesjRTeR9hTzvrUHbIrXGdeT8oqksJjxx0XFGq8RmH/EN6pV4d8yisoGZwSeViU3wSeIbw2Yj3DQ98/hhsACCuiwunYSktFBUnvQi5WSpwZ+LxvsihBZfvjL/IDv9sMsIgo3YNlvfHQJdEAw8/YWyPVIwi3x9gRi1bK+xY8u/PcomcvkG/2+lU9JcuuYHnL/NaCcsBx9/0y1uzwHytITdRpayEJV+PSI+8GsTwllsFNz0qXe6G32Co6mdf+P0HjNNK9rrZdU7yZ72TfgW3WO61KNjdvD1Ky+j0bYPw9m4x9gB+RR6SmFcIE3c9NJvKFjiK32WnyEBzcxNFOt1Y2PqNQGZPBiM2K92Z+oBH5YT6w6mnGnN1ENEn7QRIdBNWbj3oC746hPe9XyujAjbiFjkUC+z+25CRWtuoO70wAbSHcuHWQ18Wx9Xibs+9ozcedbFj7l7T+THTroWpEz1aZDzdUlW3NkzZ7oW+mAEystbAd3mqpDb6pzXNPj2rwy3STFuA18bfhP6GTa0I5OekFoIBwR8yLw4PAoXO4vPeoNw76cs0GlgQYbMwlKXWW0OzSRS6LRhz/V50KC6GCUG+6tOSqMgRXtKV6ZvumGirWmevktsf2ZnwBTU0j+NYsj+oLKW/jo8o6UlTgnmTM2gT6ZVc8tl6VDThQz0gFa117kliWdrzvfgN9mdufCblZUhO2HDWkq2kMNSUQUW1jpXtoosXUNanpgOZErpstwnn5fttJwmrRLiTHg+XGzsySdkNomH9kUTr1n1nQAOrPDI7i1k8PgVCvgsweHKzljwEoLft62ewJ4tMFNUCkbm05go03yGsjq8n632QQzqcJ9J9bX7QoQKan1d6/SkdJU+9OSaMfgNv5Pios1W9DnUtfgu2mOO5+Xz+qx51rBXva1dgP4irKE2fTJC5GDmPGvsYe3NsL5qxPbgkkKqf4Ma+piy8sipA/ec1OHXGpj5Zz4GkMPLChVnxDL8PrCVhoiLet3XKnyVCbVt4TeLy8M45NU0oWn6xMYS1jOPxdW60jt7OyYA57Z6rKrCJkYP8m2wIV6H64FfWgvfi5yLseuPTsd67X4qsQfnRJ2OyY/w9LSftnAfVkH32tcJv+Nsbqdr52eZhvbuSyLtPkHlGDUwLAkgM8z8EbAvXOLBd1HUxxuYOUeWhXFUQDGTrnfZVQjfii2go1eY10TqVoGsDCDkeCdxezEpFVCk9nA24EX5wfTZncBPwkAUdYOJ0E5jJKXNtioWiMjZL5blqnp62tjCgDWGQ0QB7ddtCrCBEzRXz3OoPs8KvPAu08ni38RcBuMmfUeyRW9BY09vo6LXh05pSsg0S+hEoRmiRGHKw4aBt5VHjDlmX8MpGBp1JzhzyTQabbfGjekHxpPNbAKpPRQQFqPewl4vyaw+6p5Ki4W98OKKnVy6qWUYgFoHkUfPB+AyC0l2Nyz6lmH45djL1LSoLeU2+/0K7shYBfqs1vcvz6GNaE6tnsmtOYN8q+5rfCnhNYeNeRTjoMwfkekiJDai6jKwYNStFOPcMIkN2AS1SMpGPiZ9TJlWqj2Mt4oIzaWUVuSzWkdChqqiT0VXqkOHHIZwPpTIQoTvPDc3tZsFcV3GKPM0CpinRz7l+xNkqjYkt1R7PYRpFvFuzEkIFC5EChGn5osZ/48L+BdSSLwAx+U9258I8w82sGDzm5+K6RYy2U6xIlx/3Xh2tMlUph2AGZZKZeU42mke0qcYZ5rWcUPwDaTymDxLiBMmk93stoxR4xpeYnPZjCZYVepyAkiKh3IeelSnUVRY1X77aWYgPhVJu1vCvML5NmGi4Yu4TA9lNn7J66gARTXDX0iWIQgdwcxs481ITPUodfY1S2kiKgeIuBm+MLbjey3lVRTP8nvou8gpFPujxO8Pcs4eAEX3TNfomnAyPDZDwDyNiVACzO6La1Ot1d4ycpD+KNRuABnt6xFiYeNyyEhwBbfrGfUFF+olSb+bGUANR2y9r5mCP6hMbRdeI5dkcnZ3Bu5b3CW2i52IXuYPtSR26fXm/fpQZYb0hdy+6OWXcVhO5kA50JYhbh4Uj7RVrjPiDUY2PaEBWeCp2EVBUYV87KQoYqPc/3YC/KXP0JAo692SFCcX0TSLglXZOpstJ/Woe2dCYxVwBp+DUM7nIT7etw5yE+agMzCFsTDn/sXGYLl0EHw5j82eA/IreCnb5/Vqb82yMg1ARlLd77Hehszqj6YgluDx+t8Cbe33aC+z42haj1MBTPRZwN7zBqNbseCp6sre0Mb//OkZmUCa9Pj9R4ODI3gA5544M+ZlI+OBorNpNJkttCS4jx0NtcYed+4mugFPd62dPs1i/hj7ek2jB99GUvTLZP4CA7i05Y3bkqZleur3Q0dbGW7DTurRDjStY6//Bmt00YVbyYDlY8XMPjnD8kCM9U1aLkJXoFm0G7CpO6851nCDt0nwJBIkTb4ZVFIso1I1/EbrTVQxJ3oV6CDiAEIc1Fk4AK1HGL7xGD8cNF4ijwA7NrE/1jz5LQDdK4rNMy3w2nPgG44qVMC7n9awY0syKhsLW4g0v+b+Kw/s6eXtTzaxQwgcqupwmBpz8Wrr9oyI1TRiwu2vwcpev8KCl7R+Whom+UPtiBK/Yli7L6vG+LpxMY3Wvv1KHW1jJRYqrtHMqjtXN6OEVJuaBAetSGcJTFisOsAt9mH3HpmFp8rg3Ovja+mXBgQHanQfU9hHfTeClwY0pkmlm3gstouJBXg8YVDG8IV+xJYPotqpeaTQZrPMvpqAnSrcVFb75m0OQcVqm0w5aLjqw5KWS9MdIkN5OvWQv8omrndBVmd9hjWKw8gxQvL1TFzGZsTdVnkq1pOBdpdEth48Pb/gqO66L6ta+Zjb03Sr2ku/PM/bIcPj8LR7gIumik3YuhbUva9OPoOH1jujXbLeyDW/JFDJrRBC7HiiUuzHzte3ft9GO14Ux4tkW1Ct7vwM5UwpqYRrON2u5Qn/CmbJi6jzzhZIfjU1M68WRYDwQrrpHW3WiwexvSJb4i8wRSrsQNhlPfZVv6x/halun37aOqkFF5SSCmfCwk9t5YhMt2vwDJIWrJb35NNciyiSAejr6eQBImCiYuYJ9jGS8hlgWVncSPTVaukiq0hQ7rDiS06JIbP5nTij/HolsXL4z4lnexk6Zf0ldLHkkvnpzs9pZ8JweBqdURS4jN5GSccvyKga38PukVORwBHXxZgm7Zyu3rkh4nr7Pdi+5Afr5sbii93gJB+x3iZO+djIYtufuKQvawKQFd9S0k6KVGgkF9J92PgR+zghfCzeE6wpKzCH+FvqKYDB4+JR7g8tM7cE6ZKJrBFGtBu1tXQE+bmYHdAfPcP/gxlWBSfps0UBualQFAcg/X53OPVS914D2rHeaKj+381+NJNO/+vwzUbnZx3Tg+MLBahOH/FSwZT1qj5BJ8Px+mWEKm2qM54wk2ApAaElx6TdE+yJFq+yFPkTqU7pzK2WJ2eFJ9T7TelI7crcR78nkLKRI7DZ57/rZ1WYdmsGzDAQkJgMNzfvV2MjmKEo7YigIkYcuXID1BqQtCS+Y/hI5xE8aH5oMG0WF9gZPec466eSH0Cls3NnaGDY2cIuhv6oRy3fr+ixWcU+WevqSq2FuUWtux34XvzekLwkr8WX675UXJ1pFX3i86QaAunSVllWkptnO31kRB8mUiacNr9FkHV9UYUgBQv2t9ktaoT23CVkjYmBWOkxyquN7fQaE5+R6ER3VS7CN0+oFUjvrzCqOiyV4ms8mb3rQkkPXuGTNXNxmhSwLMFzHDixy3SZ2W7AeBeuBw8XjSBZgHc0JZgqXHXLZ6eu886ddxtNzKsAaiJkK/1H7jd56Y+4LRJOiydt80ZTAaPQcZd5LS7fHZi9uzEKW5vJMVddUGRgrRwwrlzMPXzNJV/lkK7OlQM1FTWc+0WTyGop9zVHzRDOnUY5InvkU3JsSMdkbqNkVVpRuybjDlueI9t4q8IvZ4N1csPotFrduzNo5ntNknIh3Fvxxx1qHAj2LEN+myJdJekM04cr9MxwM0i442FuSK6ZPHhG0foZYAWbp3YHgi728plgCYBJAyRAVltCVVq2FlNw5IKl0dbYOFwg3DnP0zDH42wCAH3s5wu0nyD8blX55Imzyuc8K45MoZHU/LfxM7iXS7TtZrdMdBgfy2m39xV9d4jy5mCjvJEIOHcGAGhlRuTj/f8cBCZHhUDeFEly8E9bp8E0JkuKCJdn3OamXn74laNKhKagEf8khwb2+6zWWcX10tVf5eHaWn2JXgTa/LskYl+Qu2REW9Nco6WkUGDJ8DHH1gw60o2B+/1ELIhq7/WMjbkO2M9tRrZIUJtpwAV1NEzMqGbIHdg2KUatCeYo2Gvp+o2hIVmZJ3a0ahwFL2w/i6vovDh0DwawuS0V1kohioAN5OtLgyUMz1+5y4uhhy2sBKHYDETHpp4n2XOOENpajp+oGRUDA2BsHPy7tVXn7X/kvEhY5hMlJuIJBwiiULYCryvqo/y7ZeG9npPVDghwKFGAyeAO2Hy/0TbiT3H39fUyEmjfxUHP9ob67SXyTXmGWlxcI7o6ol2QNBKBo3vmK82ATukpIEjn68Ld0GVwcneytAW+o/ghJBQX5xCpUGSXkFOl+j8xeCciefgqO2RRl/bhWWj7AVpe1NzoSLvY66RcddWb2enKiEL029ad2FOhWiM9HLUbWlle7yQz6hoZm7Eo7fjCjSaYaDsJB22uX6oqbddmVlv8VWm6JoM17E8vdeBLPDM2KquTDDb0pO/C1Q6fqwu0XNIAFtjf4dEGzHy4fyqEqY9nSDX13HnHELsrm823z18A3+6033FZtA6X1unubCTIaKYYC1ZnwxGSeVyuhWxJOxLDaPcszmfQ7yz7+PyXVaTJImLNBOhspOkGQY0a1qG9OLo7Mk5jid4796j5eer2eBo1+whTw7zLtKOxUZ2m+glR6RT3NDB9k4qmdg0bmrl6WuOHVXrEmJ31zr0GNQtZVun+Z9UzLNgYnuwGA+r94Iv1aFx7+7kF0dUi8aW50RJJjNLoh4/tVcagFiSMQP0D3j81qZ0qx/DTOu8QGG/BmJfZxSFd9ajiPgnixTu7gzZAF0H6KLehRfvSYqs+4MvRNX8N4qCmcAHoh6U2UdXxTtb0FJL7sjCvYr/9y3plAmrmj/3q4I+T3Hd4KwUfOjhdQUXEFqli460lJxlzi+e8Y0g9/0HXzZh64VpoCoqiB1WR556nDSj1oa4/Ea4g4wGSqnVeevoA/NuLaDzpp06V1fkpq9OxWekFpJQmRh+KBB+0iF7HIPQ6wBPPiq5Jcjo7+YUqtX44SozeBhadlW5T6lFQ3S9J6sXvzqY3BqoS+UAkivOOyceDS9QKlCgeLGk6bw7y6i0mXgyPld1D6mlavldzkoK3ryLsJtOac39e5VM/Hh903476pfXLLd4lqAkRqCtil3PjPNirHqHUiEV0ltD18w7/FSHKJKbaN+Ccj/awYqPNOil6/u0ERtBDuXkFZ2hW+OO/TnCl3rS7Ulk6e0UrzVyTS9LZ2H84RWpozLt2WRGiAjktufAps+tYtVI/RduDnAcayKsITtJQ5D2HGr8UUDxteUu0Fn07WhKjldQGHZGHuolUlI9puXCvPkFPPuAU7QC0PqIXxngmTFaI970/sWC5n03aGRfstdTF7MNWuMlhqWlsxaId4hY0/5uCW3rayXEU1bkeVpNcsniW6fnStX56gdMoEKtZIDGbYWu5R1YAHjyihHsa0HbcsMmBz1l1XKaYF506OU4RGmh+3TbKTMqHmHkjawZiUdPA0cQ4MUKtssJ5a1tm6HqtYFgL+S1NDB+LjxeyqjnHVy4udcue5vHQS5ZD1Dhz5epL+R3L0O1JDgIoUU7LOHMIPM42OcLNV73+7gongzrh87przkn0jq6xbKH6m9AqyCOR9rxwxBtwlOYUCY21Lhkzwei30c72lFffx7eJDfUidUEgqc++JwintfGuR7wSE+iimEv3YUpex7FMlY/jOJRE5mhgXZq3sjht5hKUI8JFscSdmDJL6HcdOMiHKtiuPYVY4RHWG6lhY23SHJus4Cqmy7H2PZEILMuItmsN5EbmzB7Mic1Y9u9J8tfsbeLgSthqlLq4GrePuDq9ev4Zy0RXLCNt5dFR+6rQQKxzOeREADfwXnNWEKzM1M6k6al13ELsbz7ouOTFbUhbX6eRa+sUK2EhLBojkTEwWGo9mg8eSOWUvBElkgp2IO+KrTftLs65MjdQEPA6a0l23wGjw97VOr+evl8FSijHclE/fmQXRUUDKU13POTtS8TnVND4kbVdahQx8TF1HJ6B20xJwDS34D8B08/RlxAmvqw54KDgEfKgVtgkAiBS6DPeBoK3Q9eRhECH2JhPG8KOIluezlXHgAVhn+GluPW9OVB6H2GHzReYYETtQSuCyj04ljmXiQ04xWIf2i0lLIGzoJoK0LW2+3p9V/AutaM3DLijoPpgELc2SRHYnZZCc865TYtfwABkw91MPlgDTLV/jsTzox4Wi/RcjRHCfSOgJN3lMwb7aCR7F25lZPxxPp4YR6b0Is80EI8l5ThXLegShtArezAB6l/FT6h0xAk4nbnPE/b553wuFvY5n3BjjpPXv0Aoc6Q1cVGYXIEVbXdDqrq4b5VJAZyYpojRw1rIYtrbEyyQtM9oiA3n0lMlpG6/EM6EtcfFpC0GXdz4pNwLNmrlHhFwJtgsyV1hom3Ly3uMaV1CKQbQMc85TpB0xgx4kqrKgdDULcTJ+gx25IONAYgvUXyizOsP+untGC8emFcuUp+2CYaoO7ZlAXkb4Vk5CnsrvofqvMRgRVli8QbxcQSorIphI3WgZYx0keICX/jlZeXu+yVDxJ0xaVfiYLVj3o/6Dz4ljg9hNkvk1jofTEFpAlVrn46wjI3AdtG5w/1/XVZdi32Qqo/J2yDvVnxww8d/kuLfQ13LpByoAaFWdW6mzz3JaG5zPIhtpNRPUPj7Dak36XKkxptw1OAboha/6OA/Pt0G8X8M2Vq3hy9pIxgTP49H3J2syODZgy1P0DgcxUwfugtrGhz14Yp07cwO24DH/sDXlpirFLrE+n9IsI2AFYrKDY9uJ7lsTKTRJA8gmtiJNLmlcYt9r5ydrtPO/Z/o9WR8c+TUtgvqYB7IORfDeor+zrA0bFSHidsKeHw992z+OG+z5pJeMFhctZcStpu0B66yV9XPWPdThiDoRPGFfLXzbBerUmmOSPuFplJwo4qMTq22Ck4OKPSNA4/6Izp9qyz/9QTm6ug4A/4qHtM4U62C/QMnkLdpDhHAd5sGKDNUWD0jaK0HwdlSfOUNw0gTzTdJKBabENnvY4e6tpa9NO0RBOV/FvGR7RrGAmBZLiH4j59ZH2x6HjOiwmKn9jq/ZO6wWgFLAmGjzyhadjcVPwh7JRliYdSYcLYsXXwFGZ9yu2OfZdb7mg9OZ8WMyDJtjClm0TThlziKFbtp9oZ+RZdvdPbszfcztA17KDRPFPxy2HdTfFQGdhL4K9+FQdwe3w4SctdJLdRMr34bCCAb1rGlJQfVbTbDa/3LO2jDE/rqjt0K8rPm+A2Ks16a32nVz6nvdJD3Xkc+P+zBnYXdiNEW7gX2FbPfmMgoI8P2+Oc2VZvo4SDrRWo2klcr5uZQbGiJQyMxwAFaslDN5DZuFkBNBYPBHb+OLzoT0ac1UGLcG9OypcQfYd1AceoMvg3gH9XXNUbH+DF8B+iWdThoR9YiNt7dQxucxuWGuNlOEZv9ik/U7lShzBkOpeY0OEdRUYdEj5LOZqBLALeBz5ZiVf/Na2e/+0DAfHs6w+BhsswXU5/qaN4B17I9aOH3w5jACHHvvbWkpEMV74Z/SQqqwbBANH1I/FQC49/PD3Bci2CEOITl+fY1iOVp55iCQcclgIQUdYUPTCOS/kO7+0oTQtainyWY+Z2O9PIPyHJvYqvjevAF1F2ezsX8A/xWF6K0HezPY+OOnINdytnFgBvWOMgqkS0oPTfgPF9FgRdJHL9q9r+axYZQ1BD0XLnl5lC7W0HjL8BIWF74zpGl43+QrJkxHMpo/zHYSKXMwLF3xF/5g0LNcFSymxTnuF9uaOqNkvim348qzn+mLGTogqBjuI8fOxoyjdC2FK4R+ziiItrFeolJvqg1JrB8/8OXDnjt92+wy7QutPOEQursVlP1zDPVJ/RNn9JIcgrdy7jupe48o5wUqBp8nChBJOOP4iRBaTsMdFSf+UjMnoBNhB7+tham50Bc3CuvvYk2kH7IyDvQ8yWNnKxltwaHjyA/rnnZXF76Fj+WjUW5kUuoYmMu+yeqNN3U+llGJgfwSMQOSPWHuBtaL9Efaa+aMXO/558eCQGenR+a8pt8d/qNMoxUVOYsLs1frOkTtjIIGbW/34Vur/aFDuSWHIsKVJoxJQQLFq5wW1ARgsQZgZOfcUJk1R6jztJhfeegiukrpF17hgXpy7uYdZ/YGPtGKqDepgyRhyGyclJK7+j8AMySZ2cE86ffLp4NL5e8p0aH2SppLKK5P8BiYNTHdNxIj4KkTWVb+0hCpvRH6lgK/I6OoOng5BgGqQ0RxeCY2Sp2ieuS5MHqlAZt9USn48YvLiW/BOt2EA9U+A8kYhgLEarC7J1fAdNaev7ALk2M8KwOV2AjfYXbNHxgjAHGjSO4W5lk9JsYX/hgnhanNyzcpmvscQlVgYVPsIFE/yESCq1sChCHGK/h7DTEIsQ0pAQ2kHzypkuWgh5gtcd7rGnyW5yVqio8HpWXZLb/qO21P/eHb5T4rGOLJ8CL2dxnt9vM5NUs0+U1X9EoduNsT2c+b0V68GkB1so5dG/wjca3mwEP0XP48m7fTDUG/NWTln9O8OwbwHQjmN77VzzZTVzyvES58hpkv0DSbmbH9ns2qi7MFrDmcAbyC26rv2zk5ZPhJZlE3RmdhXkMUSeMXJ/kibKSdLaKSZLkFQly3liwLyZ6UU2ZmDOrCBjboFRA99ClZfL2zwiDGw38XlwChZLzjfqpakqNO73N1/uhUU5ZTh2XPM7TI87VGIaXpInbKcb+IKIMEJWB0g56aChDCPEsFyTZk+5TL3gc9ty2l6NabjqFmSqkP9SJh1QxcNz5ZvRfUH/TiU0lv6tt0BaDT4ipQQfpibKToM7A9qL96dR9m5mYIsrSpF4xqwAZ6GK4RwqzwE37jDtHRXSEmKkIF7P5tOIztPyQ5hL92ry9tvVqNOE0Tj0OrbAdNDh8l/VuZH9yWDXNx2gajUWaIlmPzXYCxHvMtfK55GifDDC1ufe6mThjKcYXEbgxQ+a9DkdNh7v7uaWnw2nf8m+5rwS6jn0GaGk9DxzGP6Iv7/kIXml48zcndWEq+8iMr0XNJeiQ9p2JWFsjoYYR6v1xWIsT1X+jKsoyNgtlSLXlxZxkpTn73q9Yqjl6kiHrB7YhkU0BfyI/7cI3XOeEeQuBkPfbU7Kvvsc+L9gzqWubEbM9bNYpTsvCqXVxCyOUFsSxxrw4cAQ2wDamzSj3AmeytOjNYXk20dU+kRSstOapw4ikFiXNlrPr/qH/YY6X1f1FmFM5n/yX2j6nyXKqfC7Tcc9FkWiqu6oDhGvUt8jU/QwS/BkofGxJb/senr/QbFOYbPLTI94INwarKAs5yeeiz8qqg/WunKiLnf2wTq6b0arcML60RTb42w883eJZebJqxqseWopmavCWnSup7FE1yq66YtJ7ovSxXcxsbEmeguXY2jeHRzsYBrWV0I54i+yl4DpuQAaYybPyjSUPcdVfEo+r3lz0c3kqAwVeNidETWCxrOePnZkNrZU4PssE3Ia1OPE/i07bAmJqpUW47fWA9Ifyx8fKzli2jaNMyinIJlcQZL7pMf/7dEMnD2Z0Ej8I7WgfL1EWn5wKrbhx509+FxX8cap5X1KoPDFClxfKSIW5iF18yoUdAq1uEFZ9N0ZwC/0B3gHQejuG3eV/GG7OJaW9KnC4d4uqOu/qSf+p6APfTODh7Of2imXZgIJ6aR/ZNcI1BcWq1nMTFMzCNAS08Ni96nyX1fZN8bfPqAg2Ty7rVh6M6rGplsuhpJ6kblQkEgCCmouobQbkma7B+zaE0zAEcDg/UaEySycEz8eHOcTwXHI80Fa7QOtWt7bOI+7aKC2mTg20ADbclxsxbVnqmDKd4kG28S6vAdUj3V8RbI5zgN3VDlSLIa8wkIi3AOy6ongwhPPQb4j70eRzts7o+cYMQ3N+yl+H2GhT+Fa3Db3uN5la/pAY5qbAhC7tp/cy8Oacq5VrKxjBuV3h+YBL9wSyvmaLKf231fUWVOwYm8Y/FFWxTrjseasopp0qUs9p8Nvno+GZkjzUeztLBW/YRvyG7cYWVmLXwN/uHJH+yIZdXK8TATqbYk/6/JW09gnAmTFzX6BxO1x8amIdA/u3if65cFyvte023qaBqp1q0gYKt6Ezlp/i83KYM2E/+MPi66UeV6BBcrZaWGX5K5Plvh+cJqNCli7UiebZBdv9k49+RDIHzG+0m5Pab9yeZ4bXgpIhiAgsIR6K90/yNfKGRJSMCAmmiVoGmeorCoc1/87jXR6drXSEWwCQ97S7HfG8AULG90EffKgtXLTsUxvAofIC2GfjxfC85qeDj3XHkPw8LVy7GkLRNt02D0rrkwEB6RmoqcVZFMl+mANXktLlgk9rPONaj3yBzipRKYVYoOIE/t3D4SZ9vk/OsX643geotfNJzNHqqFv8114oG2wZmVoPNFGkJyyK4AMVzUlcp9MYhpKGfcRrmNBbIeMdVoiArf7LlR4JuGADjcu1Z0zcuHbh74XMVNtHAaZ3yTdxPTxTSpZjtUpjLlktfy7s7sgUI0ATpVI822VylHxj4m2u08GpInrIOAUy283ha+DZnkC3Ol9fMiiGkK/kWixwmw+lkRuipOEiatFUOaDar1YM3dRFtUfIFnVgMfU4aH4lgPOoguCQG5YURoguTxayIp9h8U/UBTntC2AH6i4z6673Iwsw76ruoTTngGHWQ252luXItCiFSM8vM1pRKtZ19rvONMmLSOXPXoglJxHrc6fkd9BsrjgpQFUD6cICvoTTuF6zAL6fnsdD5ggH3qEGECmY7dOFaFznLOFn7SSJw4nu9cvMp7+k/cfgIXxor2hime8kiLbTwAzHxbzugdkfMjxBYGdnxx0TOzaAxV2ufqwAxHhmZNTjKCr4+O7MKrjWhAWEQFfw0VtYXIqoAkya5TCF+fI26QCyd82nO4MI3H0qfO5jgz0m4EsHXplHD7EUMvciOrb4GqOHDnJ/6BHkdFs5J3RgQJtfeIjqMn6AQYOTShihUL9T1VUOBHQgpUlAfeFonE1yNlyM+fNh6/JegIYMYM1ymfc59o/brAXcKoKz35fOyobHz5HCIngn7uu0HcSXsy5K7TcojHnS4A4lxB3OQEvIoT4lIJAflknFy8Cmzra2AN9gvuMou7Kl+vcVRmhZwxJVvODh2RqXgLzqMaJrNI9sK9pmh7WXQhLJws4Q5U+GMnVIV+rJymiWrvYcJL6OclyQoqW5gzgkGsuxxbuA+FGT90U4Qxp78debXDGet+Wzzbz1s55jrzjg7JRugbvnLfre3o16LLXOantRGRGv7KOomp+nn+jYLrxEl60iWqjSARK+vSyGcByK5vECYcePX4vFMgGvYbHlJlLrUlPrAkY1kSKNCrnbiZ5hwR8WL1tLg92he8ahaON4+FtzmC9M47pNiC4qeLWBqrnbmxR2VfTcC5vlhpn+/lbBq/e/p4PNm0X7p37AMRP+fZYdWq6BGFmPzUuYOS87BdlWFUamMaG53gWxOjNY4VnHE51uPf12Yxyainy9So+xICmKCm8Tj983CQeqsIJB3pWOZidqw1XDXHK8bEjYydxwXsbCXLawyu88gbECiTrABCN/HfWSDah83uTxNUV2k8JvLcz6W3c66F5X1aK3Nd4rGpcDIR+0f9MAVuwAFixn9k+QXoDxuR5r/0CiEJLoDgMqaKPVKooVfzFDyxlDVX29VpfDIYX2VRZDIq8NCRauqX/V2iLXkrAxus7vmNBEauNuvlrRuh0CxiPB38TN36vf5JWd1VZkTpGxgnpZe4AeK3GatJackMa5zbDnTXUe54NA8KDGrBHHGwyab81rISNVv8WeQauStkLqRf+uvjjetS1+R2dJB9+w6+xxVJ8zKEhrogDtKQVLTNF7QKc5HC6aTJeojqheXNZcGwv+TpPk6z7QFPq155voSgYta6eAkkGiEV69AabJu3h41YPhF4irEd+cJaJ2emg5NRtPmVGvEfF51UBav9M2/u2PjHRjfHAcUGTk3ozGuP8ImMEAwhnGfKJYEP+DcOwtw3QdnzkTmHgdI1IgYUZGRJF8pud75oB6fgoLwLK1ej0OrPevjDCLkQLxEQoSLuo6J8Gg11pG7/sZjhfC99IoU2ob/IsAjrFpDVY5lHrM2RmFQDgxgejo+sttIdYbyZELvYGdzic0cLUO1jBkP4sFzAHsa1aln9oeonZUjH8I1F4csnfkS0hfcrFXv/ebwfUmCezixa+9VlwnV+nx46pAoZmK8PcNRY9ICMhPF0hz4Bfoy619p7IK2Ap4DwECOWoBVKdYejxa4CoOAKf9/h+K8AhgGWctRP51yKwJkILIeAcihHQ8wNrNqIdOm4VSanxllajpnjMwmloIErEmy6DreDkZ08zwI1EktVoOl5al8nFFWa4LjUU5KayiifeOj7RX6U4rPLvc8B8r/Xb+icYW6Cmm3lZNGYw8dmJTknKEfzQZKJ5/njQ/RHvfCw8lkCHBNJYtLd1TxMmnrTtJWDYWi3GVCm0Y+6R0+Kn4fPRzg1ORGlgrgTR9t/tWxLJWbkp/qUoSUo2oUPAsSJVHSO+9EEpfUGVMxf+O3HcC6a8I4k0r42HP16DeoPowvvTVbfWDVp0KB/9DN82hGQhOSItLxNOP31NcprDF5NvCiLN2ePZDdJBTPKoOaD3ldVRiQnWJur1mnQo4xa9RxC8Lv9Bt4+Geu1saytKbo2hnu+A0eEKBz5En5Ds32TtYgjKeUYx8JE6qQTbh0XbP8Y9iNZwM26v9Wt66kvvGlYl5dfEww+OmSorygQKBSAc5qpcVEBdIpoW5JLnW3Z2ITv0lRgyzhLa+TFmT0jhQAgpIP6whnEQ/F+Hd+aHgBia675w+eOMlFbezC7Ce1oayCXB6gz9FO7QRO22BelPOBIu0O47+SKTQQQGljq7echZSx4Pr94x1H0aqhe7nMKaD6jtf8aDDhNEHSLvAW2rN8xVNjPx5WI+QtPZPva/h/6nqzg4UQFb1qAE7XQhbcvxxQJ/WyWoIso878sbAgz6vS41PLmqqkyezKb9cYsoec4f8FSURs5SKiO8gFPSOafz6dNejb8zmAp1AEJT5RgmgPxNb/oeai9EemTW3CDFA+xY0Mtfl6iYDIE55jHaYaUJXO1/NP6KVmn5TvLnCe9BoLdWtyC2TeBfV5NGSPVpA/zPeCMXCVhO1z60CgRq7Zib7KRpU8xDibk5AX/XJ2NWaZoWb7ledOMUAT3r9r3aiJntr56lyka5MEsdeEhRwjKQ+JAUEztXclJ1PxK6A/8o7IXLlhsIrFsP9wrxxehUOnD/LHtTSXS9XgMvIr19xBNe1+1ZjdvCbIIiU0OJKiyRn8RbJvlWMBX2z4RA6qOVcYmZ+GTLUoVgoeA9ajzMt9jmVXDwFbiKvH1GNOTCsrIiu5YiR2ujrI6N7SPV1jg8BSUB7cKbxg4E1j+c0p+IvhRdskucXjzjGsb7IHBYadE2tMbLM7opO1MWlqvJsqcdwyjgmlR4mpE1XkcZD8CngNOYiEGHRMKfLtxqkoL9gEstY2MVS43zT5M3nO9hzNksxqNEF7JnWLGKDBP71MF3a5uoCAMy3KWb2ZRYYZ9Mrzi4iG3XKWivXSXvjf9C4Fol2QuZMt4tWf1um78j/MZXzNHKMbFyWRPtUKiC5ibgSpQZLaEnwhQfuyMoJbGythFHSKXXFsnBOUgNIsuCE4D/tyuKYc56JmIstRkMXtI9rBRDgekG8QAG6rpsWo/0OmGjXWAArLpnl+1Adw8p659smuM/XNOYwnL3EEEHvhjtlAdXJdlXSuQDP0jDMeedaAQTwQdYZEn5Cyh/TY7a4CVDB0yMS2AePY+BuEfmBX6K2eoDblxM4lS2DWy7eylZc+0X4kSuwbWzUzGV1olQU5lV2aGhKNqEGqRdP9gzWnucFV2z2B34QhgVAIDEZOaCHluebm2X2qa7z37ykDYJ0JAjC6vhWDIcRC0HwsOerPjd4QJ8MFZHKeijgcNICUJKoGGN9vSDQHzHwsWOS4xYqlQISdhuX4Q2MW6iyNWDp2ptPc7ifpKBeunVnskyxXAQCo22eSanF/RghXhkXrUTKeyk9MZZ0mLVk2mkdvINBNyyd4zrsj12//GQPjpekA+b2Atia2kvsGQMQWtLct8SwV1ORrEx6H6wJ8TOYUh5c59XI6kc45Cdh3fgRfozibK/6Tm7MR+C+Pc+gE7buNeBnUxMmct8GR03MhzfMNu6/bdjQ58Qyhf4++SegUpqM5VswgGmGbztqADo6/k1tyHOi6QpnW9jCUlXDO1K6ScydVL7I/au156y8HJCjaIVU92G906WdNys6JmRi+bWAHZEXg1/infvI/whSJ6CW7A+5Yta46vOeHMet090LZLUYXj5wBBCgcvkAxKIL+qE82l9thM2IaXV9caDlh5IAH5+6RVJnFDoh//i9+bgzO6gXViHex4mp7hnq2WUZUM34AIns2fY+9eJ97OD0JN2TPbB9LzCgueVSwcGmVz2NbHDTt/OcW/aR0Aw+GIUDYiRsYHKGvKyAdHImaThSTyRR0n6l6lnsaqw6C+870Rx+lFsuSePaBnniMiuisI84kzJhWRRyDmxaEciqQoCabJUEdrLpQK5wuXu0LyGrrqZjqW68coP9eFdFVEYoe2IImYzp4unLdes+T6sYBdpzKOOn8drIe4Xb4THGt0mtfKCNBIyNn2pDcQ74c1WZL2bkFOQ1Uc/c/yJ0phr65lIzOQg3v2dm8e8M0LFXY8Hw1e7XnZ8SH2y0Rvfv0kgrc2z+8DJkgKBV5ba7RsRwE5LmDJW+OkdxdFbFAS6yjUiZJRmGkX7N3JRLvZwE9YjO+C+iKSkT1jvaVJ1OrArz/TFVJVjS5jKXvvnDYmrtdh8QsZIz4OAZ/v3mPtLCkdr19PGFKeEWMg8Oa5SPYiKFoFEZbCBUO0FaUcQFIrTKIvtJnVJzkVEqhS3aUTMcE1aSzRDJvjYTXNQLjKIlLxJyVl1WAtamEvvA1rohYvuhjPbwIjFD4m3IH6Q5r1dCDrNPH1TiWxjfyivfMWJjR6QZzRtcSDnDloJpGmqB2Fse+Zx0pK2hXofOwhZzXJhZXEfgYyrUKCutV8aANL4WBZud6LhuzqPRBBpWqzW0UfO2Vpa6vpo0tlJ3PDMv+3qgRwQEWtPxcUOYeVK6QX6wyKZtVFdlou35NMLGrvUAStJe0Nd2nGmPFZvFXzscqxZU6yswcNEJ9ZEAnnmhpfs+0IC6Nzymgg7q1pOemtx/qiVPeyhGwzlOOhl+ffF27/QG96foB40alT4paWzBv4P9AjO/uSzYY+IIYDn/vTbnEigGbtSJUC5tQJcx/uNbA5rlmmaRbOZ/KA1L4wisoP4wNJw7Jyp04xtI/t/Bh+sjz/aMCFU7MJdjiNzDw7ouZW0/fGL5thRbtMVmJDKwhHw/vdl0wBfVoh9lxc0NHO8UcitDsyNIg0alli9QjUGMrIvAtb5Wux1G1s/P17D8nb7H+nGe0F9Q6k69yOJ1Azlg9xgTN/t3HDKezTmAWb4dhQZv4kihVBaR2x44gvTQyAf9bPhj9qTlkrGzkJDXiNOeZ3c8o/ZIRa3xSVUutS88n/C7/yCcV1b0OqIz5rTIdvKun62qE9ftRlQq0SQQitoNW248hdP0epF5tSNvbzYosBbhNuCGI2HzzodgTO7oC9RHCtqBvYPrN+XnzTDMTN+AO3UIXYAhC2USQtz39ts4meDzGY0UPU0VXmL2Tmre2xt9YDhofKhGpsi+WvWXJlAC6K6J2CMdUVVhy+m5DXpYrO5qKIc7FDTv5CM/WHJ8kJcqbPAPi2l8eRH2pSbtm/z/3F9dHzaJKWzl1sxdFM0xxvQ1BH8+ur1UOoqShkpt0sIaARXMORA7KszamcvQBX3Sao0tx1RRjj/eXaIRE+w1+DcYY+cQ2y739mASDG3dELJp4DEyU9YHaGYDdBdy3/ywzhrIiSBIus7a++l6k+5+PqM7GzDLoI77lHq3QrIgUHdqCFTllDFjDN+zifz8OWPKwJL+3N1tDGDroONtGZ9DJKRWUCMdOM+jYYbLfnsPdDHR58+DXjEzZ7cQO3iQi70sTOlnNfMZR/vEubBlVkrlJCt+3ZvgTzFHSX4uSreGgWyCWiD1OtNjsBqTrZOt28fgC4VEcfIVNRvnpjAifPLFjSB/Yr+YhilLYmtC9TZIrOxidQnqw5yxLOQ6zW1slk/tkuT0E4WzyKhIbjdkO5j8zSg4pPInKJMOsurZs1OA0Rdkht0VGM+otN3NzNj+uj/mz+iapvr4Vr8xEmX4Rj05ZoIuZ7IcTLH11cyii/uml+lwG5EmdLYWPP2jY1ReuSa7Of1l5gm8nNKo1U3OuXkmoUAwj3+r0K6ZAS3g8ILG+y7i8O/nPo/pbP8+apUhN99Tz09+hzIgVM3VNeIztuhqBY9mlubTM40cVqCINV3zYzIDs6xij3x4Buw0rQck76sZ601krLx+6oSBvfl/Wevs9CssA8dmWlCkh03BhG7SFOKwgZW+7HCajHc/TA5aR2l5j/6KSfVTDZLt/UspgsrsXWqkn3vVNJmebQ6034bebfxAgJvkQUd7eblZe+lSOkKG3bDDlKMc6buWHu+9qs4+qQi+0XbMKPko4vahZZemO0mxvW+SOe27IYfP5EAQBJdpcxiNX7oBAfJIlUI8qfHsO+QeMz1keNr2aAWyqFY9Is/DN8b/9zqd91yok43ADsCH0OmDqcmk/yE35XIkSn/3dA7S2UEXn/oWhHQoc2jZf7NVjYHBNr4K8gsCv/S3f/Xfa7g3ho/aIs1q+Ix4FjIoW3pgN8azlbkY/njo6yp1a3TvtbuZH847H7IQl/9S+tUtir4OgFPrgFqag6DYVQDLb0bBVhnxvvbvW6wINFg3gYREkxug/jpCobEQT3T8CPLRPGo3tUdlx+YMdUxwDXO9OnO5btlTBBfXNy+aOmSjnz4DjITySnN3HLiPfWk6dq8rOSiUK/JPpeqA+dbn+ZAUphpvY1wA0p/9i6+hWUH96G8xmRcLPqClNIudbO9usgmHFJcreEC+sE2LsR+GIu6lEY4TZ027ORGCIDy0BpMNN6WkFNpo822qPe8eXJOpuLE2wA0OW+jpBjKu+IwIF5WJ4IZATaJpBI7cAM3GrZRKs6XONvyg74OgYzoCzv5enVZ0JQ1CdlLh7b0nPxEI+ClbrtoccUBF17zIJWZK4mXPR7qexS/vEGXg8OtWIucj1aKJ10vXDZt0IoXZRq03Z7gHwbIIa1EZA7L2qFLq/uGk3MMkQ5LqiEFrFcxOJTbsgoIEgXaJHMN635FFH0UumCZA0rE3aej7kNo9EX7Itj5mjYgVTx765Rnv/hdrv8ohg/BzAPT8Tr4QvNM0IVG4BJOOYdjwQTfbMEAJSX8lQBZJM7EPwX9i6a09OFPUrXxBzff3CYadNx/P62JiNfcB4A3bV+eEio6vWOyLzXacdRqpWt/QntRVxzoL/0+47/Q4tHYg1lKmj2WNUkQbSckrkZtzaKmzMxOZ9NCciA/D/mFaT9WHWF6RQ0ZX1tUoa9e059Ir4MXTvsZ5kiZwMfHxGRLorEWvjor/zNdwz7hTN64QTXQCHmIjPfdPUb+YAzadI5XWgTIKfeM7qCbH2EMUZJI3QVNaAKCH7sTFyizYivHGz8yQZtUfBO919qJCPnTESVitClAbwICBlIoxMCWQHJTp2WU4bhXcPZYVh1jn8pTWJkAgWjDzdTTsWWSOA9GLiy929O3BP9Qwy6YPNlPbn5fUQY00BGIDkihw20ba2mEQCRLr6Wd8H9qIuVbr3ltRUPsUVUmIpTXbshOj9eFByXpS8TfxhsscCasXp/i9tw8ftuYWRba7ggxKapeHpRBKWDD5WECqqG7COkoogQgKxaCuQsRLKHoo4K4x7Uos2B+WDr2A3jqZPDnICW8wEi4D66Gy2mRw11nnVrVERYUpSyJiIYcrP8oGPXu3bkWW5IGGTkWTw8uSsvJDFQ8cT27NMGub9xZoD2Ig1yw9arAv/xWK2PkAv6f4sIXsXMXySf1OwEw1z/lz/xxArU8rb63cZ52aboozvl3QuqRX4errYywrDy387M7Ah4KnX2EZROYMFatqjWvd9bsro0ygvPLuTWPk7JUx8sLIHtfZp6/fw5DaKWl6Llbx/qERMMc6s5LQb4u5naB7ZWdKuWucU25i1jFD2cDH7TuiGF27UqoGwaCA466+gtLcs7Lh5/4UXg8vzUdk3bT6ffvgXkrttwsQu8piGTxzf8GEN+hlDa+W0fGy79BuLgIhNcgS/Nf4rrsHiyUFL+8ruKdlJ6hdny9Qow1QBzkpUcaEcBEm7n/0u4mzLkt/fQWgWphaRk47x8acs0AA/WjDPP4db6Y+j6DCGizhCMFXVEd175vetq86XuI08BH1+Vi7ljPGV1aCLyjvstSW496AnfZ0AP9lanmS70I//3JwnmJAtDl8TMROKnwm7nB9icTg1JHd3gQaBVlGqID9yJ4S2nXkiQ7zMOBEMosBGRJKHJvat20yuX019thyil648CU878hHI5W83id54rkT6ezxixWzYE4HCdpCDfuWpemUGwCnapzuESRKYOx7wrstCirETx1Fhak+OaRhv/rtnUiG6shhFrB4AxooGG9ajMtB6F6qf2nawk1vggNO9E7yy/ovZpigu7HRMcxDvOYQ5WsoodA7iqG5zRxj4G/Y/NBxDVkVZOvoFVQ22blSJwxthDLd9OWMkZcqzZr14ffnS4s2MuoabyV+DcBGZUpI7oqKZh4XUw3BWNI7LoGkRy3w+SlEjafP4dyFaAqlWgD4sh02tG+Nd1+ILIRIisdn297D2H2dx7fVPV5QR0nrOJ/yQw6n8euwNMoiPuOWeACbeFpB3ISCCrLOHA8HpQI+y99dHIIv5jX/tzdcTK53JWSgBGWVtzQoynHV7M+GIoCuenfP7Ps9aTdENqbeVnYM0stYp1IklGQSAle/H79WxmFXz9ToShGFBfzoN55UL/YtBQ5k6JDIPzMKo1fGPVw7DvqLGIcefiN+9e9ZmFczE3vAAUpv18zKnz/zvESBLqzN3jhy3/OioQs18kgV3SY4DVznVYBSvBwO5EZP2PtiuWI9c7qNyif3VYsz1bsH2SGmGfjGuQvDziQmBZiTZ5cjP8R/eh3rKIWctjTXdjQQUmD+uJVoVFwP+0ePRtA1zEWVlNOtPPDIulhnJlHqK3NHODeuQ+/gJR3RM692dhppql1nTfcd2cOZnzigWopSLqPUAgRSY5eQCC2FnwF/QZoR612b/xHJ9d96chP0dNQPma83E3a9CIXxYugvB0knwfMOIy+aoJ4hpLiwO506OuZ1dgxboM3ZVs391g3PXTEoKYDBXwMZetnmMHwlh8gxOia8HcIkoySizsEk3mBP2lNTrNX3O6sP6rODOX6pnARNKOP2cxfcj2MEuZWnkr9Z+iiTXCfHVjNa9JADkmw8qxq7ySwxwdflkcc3MrDnQhBSBMKx0nOjxhJ+rAMYInuDq20xjJ7SXE4+LUtWjw1ml+efApqfMYlk6sM85yuwnUCCIbUdVVNh8PiVMVxOmSgvEslthMms7XvkIn/EaoPxyt5PZR2f+RqXEkABKthPLd9cGEvDSq5W0X64OOrV1l+P+iGRH5jeJaurxC65KqCkus5/BfSL7JLyN6RboqOddeSZjzbnugVtkwJjYNgBZ+tTeataOFu7pjx74BZrm/PocnBJhrfCX8aiJip0XZQ9vTd0tLFxczNzKOkzE1CMdRHdPU1D55WwAHwsXeBzZYh3Upa24UqBLYTLVRCIeikSc52zrhPRAsoTug3fUt252wsL0MnvyE8XppfgxgQGQ+fZgGWva+1I+gopcFquKaEf88Z3Y86QTXQ8x/l2o2v+SW9Gd4dFYjGldp5qwzvPvpTpgT/skRSaMXoB4lvayg4AThnrJ09mF2bOsmsXi2uuZpJ6OibFnrPEBAgCPCrtePRl8WRhgP69OlL+xNZjv14X7Iwk2tdDCDcYuHhsXRSsVGo3fYKsbSBsgUSt4FbvAEB7nL6P4pWIZ7Idy4eOYXZOO2o0xIFambRtjD8fv3gDh1H464ClUqFK3O7lBcEwP0RyfN2GfiJjFoWvglIbY+DsORtYUySEFIva/Qs+D1VSMP5CzEpJHi7PyJi6w0MrxpRWUN4A1dE3r1oVzzJHa0GLYw8ucXAHulNg2Ez3lBai5Gc9h3hZRBLEwPMU0TwVCyCUm03iJMcs+rZWFu1NKL3sItcLRZbevtRyqlC4Em/YXeaegd0wvny574dADYbUuC+4/lYWJ1eGKIL32DhPaqWizFbGX6vEtqNmHkmq+RZl4DR4vmTXujQBKR/ppKtpTcpj1qJdve8/l2oDf/N5f+E4Gd28SDGWqLpxou8OhKMa32GnpuiqNu1eU30t779iikAloIKiFWyKzdB6ZPzv6awvPFHXb9CBIsFlivEY0MdXtlcElBVEOZdNMmojD6yIDgInv9mo6Y3VkhPEJGpsIDCP/oOSeWI2iKITnQ3nR993pie67oOa1hPC4AVSt6Mo5nGX1yZLQzGfJ1x9FSX++hCVmknipeTE4szUcY9uvgS4IIW/2efOBGYxqoNQETUTkwvqcRF/2+oHJAQ52TYjVeBZ27cQnujnK7BEhRj+CwBFJoFQzeLBAJfIWmjoY07olBuXjfkf9DiZ7mey93SvozrkQkNuN0zmktS/TS9SkCG4lHk9uLgjh8lG8Nh2yKIze/hObSjEUO2X9m9T1PPSJQoWHt/diXAZzRlWE9i1oLtwT9/SAx1XeAIBxo+aHjpw1SqBk7FK3bemFdhTLU7HiPWQzi5QbJVmlGTWHHggLtwquiJbWnnNVuWEOSDz20hmBJNhXMzIqxgkhOuXCmnd3J7zQnOKTKevBZY0egRkvjER77Da3ss6TUk0rXkFbTBGMhNNeFWJLTMsSpWMXlAK+U8Bvr6hU6sJ6b6bD4YyZwBYQOKS3On3SLrUtpW6AajKHwNHAOYoVDX3CVoQW9nCiMX6nXj1xNCiGJINYhorPLGhGYaqgHNXrWsLdkAXirtnloLfzr6HFFzquOCR4v5zwAPT/VsrD3IasmJCtmyxoEpOiaWJFCFeiKTuZptDxXjgBW0Zuzprmxg16L1TIDzFi7M0/l3JDpRbEGJt+66LPKxWjWnHzhmAFfAFrkaJOvuzEf3LayjPUuS9vaqDYz8I/0GPKaTZHF3kmq3RFMoJY9Zq+q9IR0G6/QQ+XE/yeTs/RwXlgGFqRjr6P3690Z/2+hDE7QYvuLWw8HYIPPRl2+M8DGI5aq9rM6l40XlEzo6AF5VSHHvUMG4bwwQ+Aelbl/J3ZvHllzAsMwKu3lXl6lTJoPDZmjEH2HnKV80BcJ/6uii/EuLl37JLzRftVeHxtV0DVnOIDaDOvsYbIlGcr4EEghHXDg/7j+Q7TQ9VF3Fba/aB0NlS62G7MXLS7hHqLb8Xjj/AEq0z+WjRhtklL/gcYJ8+5JxInG6YZO5QZkR+vVwEHRgwIlzRc9DyzzwGDKIuZT/alvh0lYOtmQMHUV7j5YuUtUQR95qKbufyjJwKLVoxx1nWIPSvnL7m6RsMAXevxrph825m5iLVVeUkxUz8FeNxE0SlvFHOSBmb9yR2vnUhHJzmuSGPzYKFxb3L50iTsZMYrMcQBKZ2jtg4OxFiKb1/Iun5RioZwa/G1F7xQ3JoCk2xXCi71EmgvvZO6iMQywmxW0pw50O6rlI/o7zqaanugyz+ilGZkga4lesvKyqAGS64GppG4tCaXt9mPXtI8AZGsyxYwMTZ8wO2iVEsAR/OPM5PsEdIriELOmVn/hTu5L7pvBfj9bEE4L5viTK/W+pgH7X+ahCRQKxzVBbNTq8K0Qfn7U9sf+rwg7dX+FWufB/UK/+pnWkSRBCZ4sI2UXyK3t1goyM6rBWHustYz4k/u8pqC76kImr3PIK0Ti9w3+GWfY8nBkyWAa4rVmkX9WQ9tvH2XhHzm1+PbSUR7gvoNtsHZSQouekXFZYFbK6bZl0GGIMxFIdBI2gMgEQ6g5QomPFfy2qII77/x36A7DufPBD2Ghx4+mr3IM+SO/Lx4SMha+jKGCcAOYPSnEGL0vQuNnx/S2N0Bxe9uKVfPFYkGylfNsYBZKKbz7i+ns5ocgOyHPBetKIt1dkEHR6g2XQZfPQcrOOET9JqA+oXwxoYzIoXWVbe8Gl0UbrEd/8rswgUOUGjcPasuoqR68q73eTZGQUJu3hML99H4NhkE9pdofPQx0k0PR4xJ025+b/xSPE1JQVVRKdXRJVbJeO2GHsfg5ezqB5oCnSjHM4TnH8RzMOqhUv3s5QXaJCiN1l+k+Q667ERMFlqiuoYVW2H+wIliNPosQRtvWiDeZYVzLbXM1r+BAGeSG0Tjg+nGED4ev7dc1FIXTj9bqDf7NPRgejkx9UkNQXoYYw3qa+GjzBclowDKwccUJFjZqxt/aKQ1lbYw2OXuIYpRbYfqSssvktrP4YM0l+6QCA3TLUCL82fkka8/xsQ0OL8Erx4jAzqDOTB2BLWR6hCm/5U+JY7mR1MGRSHNX1U8CZIy2+KAySoJddFuBQZICTu6GrT59VRQhtZY4Dig8tAvWyyTLXbBb6i/4Aus3Nlc5u7A3Ieu/RaRhOVd/n3vS1p3OcXoYi7xa9f7ec+J/xPypKHk7QBdu5lyeatyKSnG5kDT2Q3zzXc1F2dEBJOmkfwfRVb+cbR+sFAYSklN6n6OzDDQHeg3lHI0bsUf9tXq99VtAYDwc98VfN13ILqh20QO/PSxy2BQVOFgS9ie0S4cH6yvfmCBujVhMAit2ZbNoEnVkvBGZPGTRdW+R2rqTU2JU4HK30ieGVpggC2U4TUm3iyU3vDT+a8zFzBrbdOZ6vqK/uAmpGQn0HRxBOKYb/1VkYzdP+7VO9D5vuGsFRod3/RCL4o6a+VpfvJI6TRhi2oRb9qJ3OkPDVcKWBDPf9yvh5mwpDZkyndKF5FPHdQM0Y2zcrZbr8hB4YK/bfxYRquaocNCxWR97qWqfz7aTEgw4D8fCcXlnD00eB58rI7B+w7UlzBRule/tNsskcJHagGtylt4dve+Il1NrNMEoBQPAOaPhPSrz1c96Wzh79jBXE6/70CqPiPEIWQZl7+oHQurTNRwM8PSS3n2h2Kge5TTNwR/RkkJZlRbikyb8tZjsIjVnEPxXcJxr/4jSPOkkNAUl4Si7M+L4MCQ52VMdjHaAGU5jWbATMQvTPrvota330VQJxGLYF150JLBBQlygRVQIC1obVXrMRvMYsccmzDKBijAPrIKjIfVa2hepIeFcARz+N8xTKhExD0ID0qG71j/+fWneJ7CQim1GBjP8uHEOQl/NChB5dE+ch2BJ+m3mwLONFWRdTU6jVy+Ze09maN6Hx4g4FeMqzJvjSmaYgvtS9LpV2AfbzDY9Z1QcS5rjiDMhxpa5ygEjVOqudHyLitWPk/rd2uACk5DC6wYwVZAf20As5Hep7lRA+Xe2MXu9K+asQHVopp0gxkxSI9kkgp9XJIU7qbcw6Nwx1baLxSUJi9+a1+/ovjFDvIMF8dPrwIhVR2H4w1fx9qojqmhzxaac3DfFpr8fEpV3Y4Q9BoDtCOkFZjwR6icdPse/dqTRuJO8sYd/scDOuWfpqt7yOl9Ldp4gW/KLWA4KxfGVwAIbchTEuKgJbCS/QscVkqhg5Qjf1+xg2HzY4ICgyzEtjA+iDHPkIlTX9zbfqbNbxDdlf41N9E02obfehJ78LUC6ad7oEqRcwYbzVcY17EZwqtwCDNBzF8Q0A6ejvUgoWRWle1NbWDrpDa1HZTpYunaFRhk04ls3jsl69OPwq+9lf45GaOwCvot/ImR4Kdqoyj8pIhlwsYv5gluqAsTD++vsUO9eHifFDEBVOSrMxkU/kTSoX6CZLJo53yMVIFeksHOmR4MG7sW/e9zUkpGaVGGami3t1qBxppx5KvGiohb1vZ2i4EmGfhQcXxhxEuEcKi7iq5O9vtYfKwCSj/G4OF9XLV8PA76ktjVQDhNHaLYEEZSVZF/zSfbwaGmSZrCU0mTImfy+PryHr6LVR6/vsKaMeotjHfDB6ujQh7EHwtvl6PrZszPCKvqSqPxAbvd4aths2udbGOw4ps8E5q1wGT98fNY4kk5J9uZTxkJGR6dD7qYkUTOisM+pdPp7/uOmDyfCCfo6Rgmoe8CDZEHJCuiMizCDfT+93Dl3KP0p6yj7zoKbIOG8Fmh+R7+KjdfM3nY5rQwcYHs/grL5UJfELLh+CYWGPBYvj8e8+q63YCN6OGk9e6talwqlXIQHI7wuWGmh5+y6N0W0rODAE6kgos9tf7SLVflPR14sfJ+CXh7zrWtVr+6V2ku8wIhE9GCyAwNKQCqEBX3OdwwNNa4rPmjGBw2X1KSBWst5PfWKB/VSs9ryVFGum+rcvBzxWTj5yakTHASAOyZ3TMeEjVnRPlbyAE2k4gfiwFuO7/UWFVOu31eoSuEBUI8vJ8IQxVMsA/UCcJi+4s6eass8ceiniQufFDyAZJuypOXBfb/Dzx8S+3bpEucZ+37bgNSJQpBF+A2JYP9zByx3FxPEn+s6WmyOgBNvYZ3SL8h3lV2yH23wk6YrpxyiMtCsLBWCEi8I/OGsAJXC9Adl0P8sNHEkCrglGYFm/tl2mSTvlW4MLgtRzTqYSbssEICj+MWlv8BuH2tBKh2tkZ5c8Pgb3aW8zrwCv2sbOaYahMIL8hrx6U3/wQUKjeXJXJbUVlwCpIOSxZT1HBMXjk5KjE9LFsb03Ig6iog4xXTKVFjZhJexXqvrkb10oF+urArAHwcR57BPjEGfPrWJx8um+QcTw9shltz3NtDufCFckzkXZ6Fw2MgoLubC+WiLmcxWosABNOH1RWtTzxly66FNTvr85nxCDxiB7FDlYKzpSMmK8psEk4d7L0OXv8ZZABnl/9XOdK68aGBXKcqe2wVT9TyDTZFTYUU+EOMXrp02QL1bHmtgLcd0BVNEOoGvjYsbtoAYqKz+ONyVeLfuxr5PR5Pck2pq4xW8Fbip1M8UrW79GescjEvKnUyKgldNDn4LltBPk7ydFeTRYtgIRUsI8MsCNOFhwTqXmdocPIT/TqdqTKDMo4juNCqNk/QDuN8lYlmikYMgGssI6t2OqcL9j8MUU3WNPX3vcOXvKsq5xMruowzr7yhbDSDsT/56P7p8phQnEQ55vn7D0NZufGUHjgDRQTNkzWCOk24seev2evZTP6dPidxgqADkrqmX9iPTvN3mMfi0ZmMXQek+GdRApxKQQCJVw7wB7tTnusymqnrJkiNH3BNRM4LAfNeO4RmyCZVrbGnFYdqVI9z36GV4UjlbTGRYtNTIB1XbnkCaBAt6AljFsz61OpHF/gOGZZLuLcRb+XAw+ACs3EAPQubm1sDi10BjR/cEA4r+nSfVq1S1NerqN0l+fJ/+wM8VEHqZLOoTluzhlzN0VgdDXuRUPYuz4RjEnD9MZivfQpjHxj92Yvy3JBOj80ipNj8pnGgYlP1k1snmYuVS80XW/jZSX4FpiEvoN4deW6zndhuY8WEcKmgU0HV8nsq+AMta6dQh24B1KeUbdczREFXV+0x/5Zs0Osjc/CePxN+JogpceOIjegE3ZSe8L/rFStQdiY33oAJT/ayPxrmrZb4eRM47VwYveDhZCcRgMl4QwQj03lZmvzpsIxfoka4IcQzzNapI7ooDMtGsQabzmZNQWpS9rDQWn8qQ3Ba9MZxxGBUPeyWMPfu/ZKhw4XF8qHGoJ79TNIoLdTxNy9jsRSIMIHth8uD+blR6Fjcjs/Jxi/ZJz7EyGfWxGSLBBW/oLzeX0bmB1QiKlU7FZmMbyAZNWoNOQI0ltf3WpYdlu1zadc7Hge8QaCefisYswG1jtT1CBcvWiHOiJzA0P559dQU56X5npyXiE3F6veoVEKXZcYIH5RYEGfMcL6QvB1Qoirt0wDu5R0Wh6u6kiXMa0oK5yZbGlowePICxpe7jOSleRxqDXRuI5fqhik65tI1asOX101ZITP+g0ciQFsY0vNCYsKvdXtYz9Y8F+wuITk96N5TNAMKZTeir5LdMc5H/9Cx2t++gjoa7hbmVQOnz0rduRLM4NKXO+9bXK7QtDHHJDhfp6ds4f7t6dJ/7mJNWuLgi02TjbNNq377mDGnl7G9oLGbwxxDSzJwoQWCNOKWRA5lNDe5zxGyQhfdGHxtBuS0FurIT2AjXjeyIjtplaMPi1P8j4s7bGTQSy7tm5bmp6YokyUsd/cceU1g1gWTjS75ymmoyzvHe+buvL1Jpz9769hh2r+65y/EMt7Huk6WwFnBCcKXVFrnsgPuDxFwd3ee/xjIoLudyj9rfZ/27w/8AF3PbzqUb/r6zE/OxQCqXIYA1GT8VJ8PJvg1OWAptVHNzxLrb+TX2XE7vcv+7nn5FnbDYlzf9lmFQBsrJSrp1zE8u0dJ5BrV2pZlh+h3Hpee9whPao9Ovr2W9358SgeFRu0T6d6cD1QxQey0jP5uvq/x2RNN08VtdoUz7HO4y0LRUG3I6hkRBGEMKJwvAko1+DMTD86hT2YBthC2kgRJynioASfQEIy4uKR8ISMqc7595pNlEItk1w0m8qY0J8A9wmQGahLOAHY+WwLrhp+RBCoC5+WHVaZZDgoC37p4Bx8f2gedRpwkqNgxT7ImgEV2UGgGhzxF1LI3y/Sz+NlZLTsKitR1NN3XRzHy6ky+pCbM8WKXKWPBsyKQgeq4UVMiJ/ysx4V1FZnGKX/fSl3hPsiIFS16O/fo6XNbRRULpcQV+TKZEx+9m6tk5ZloMF7u75Z6W+eCO3rZZ/SAk3ABjwMlB0JhmOGJ1FHpZHpTzzn1vB1c+c7wTyf6wuVSSHKCWmLhg2xyF6VndI4AcKHZSB5/Y4pxY++hT0D2qg5xm4Eq2t0qCAvUj4wWPb87GintJpFDITzQoRhxsrd3TzHOKas4UXBpIhIms0CkJOik5OAB7O6fQFskhVhpVGfffX1wN27VjU7LsPAIXePlS7rY5gbiJQ4FCT1RvwqaW82Y7iVX7/35J8E0t38cYBTORiV9+tigHqkSVI0sjXxkAjnCz9CjgOQwWlKpWQXU5Lgzm9XOgN4cUjRcvGNaDgqM0rzvxtOjEo9bdU22eDPUf0MDG8WgclpBDJgqR4IV0BbDmhZ/BfCa+yy3h+ukE8XChuenm0rEA9WiAH2tKWiAtkgyXtMEw0buLDEISrT+cCqjOFWgSDIBM/eunV1UDwcq28Udsx3Qst4GoKb9MuOiOW02Kb8zgBdHvtMuRcTeVHp5cSaU7Bjd59YT+uo0EhFrcDaJv76oxTcfgw8v0Hn+dGo8nb/IMcd1d+mASl4FpbfFyfPJkBQ0+cwdwxbFpq3NkVP7ibm5J4A22X8pCIhXBFIqh7kWTT21R/cbbpklAm3vNmxI/bzziNdCXUG7zEG7xDhG+Nf/GVg/WBkgTmjjyeuCm42YztGxz2bqwjrxL/KLEz4Zw5cIihRdVkJ32TYqlHfT310fFaMG6MWZmdnueUnRnK5I5MhkovrXO2xCN3iU0dxmw3tBIYKLWHYcXsFvWVEAawhA5rhVLMWc0HUw0Mn0f9CqYPttrcBqznh3xFEqvus9CfMByCkyml+ofLJa3FYQMgVkzYa4ijphI2KiRnqbKK/bYBvlk4VGsBi6lpX/F/if1IRaG71JBpzmsuvTkqo2qcknU7jiD4vHYJLQnhZncHgl+Z0ly8AMnE8YMgmXx700O4tE8vOi/bOyME3yoKzEHMF2WRVODFOQU004v465f0Ec8qfrR8FjoYaA3YfoDxjrqHtodc2SlOWNo7pLauoVgTFqYnF1i9PaXrpnU+dWL57U70jZX1JhATK/1ANiVYuzCJzQGg2j/vCzwdK5dsXyjDw6o9glT2bD80XIY1nXSH3FQ31dhFWVR7DWgfijobbTcPBOZJ4Pi8grfrpTGYoRlWzypLobcBPtP7/D4PxW1ZbKEhPlucZ2y4n0a7vFBr9Pd/5yYnQ0duJap9zsuEaX4D/pxuQxth9B/5CjyhOekj554J9cLdMD0IxaifS6/2/nbe3qPJ/ep2eJM9S6qpICDsxL12+E6aGLo+41z8bWHDUf1oqmExxAejNx8ulw2HZREOAMQ8xLG+1958mxb5ttlN6Pn+qm3v/I3mlVX5XjXSp43bat/B23Tozwxhdh2A9C5HUy/lGSSjUMYxttS+ipWiILYU3m/CFccxqtkRTCnjUbzg/bzn8t7jfURzQwF21Mm2Pni8aZffvqX86L/VEMbETp8YHbg3PnEdiFbHzjq1XZHJ0C7wHpzGbrkWi1LOVT7VXKGPz2nZxSqmdZ5i2PvflNwDoonx10CbymhvgKY9GV9sVDZglV8RCA+ZZ+wqpQs+eUpzqG+6YPzHZbY3FzjksLuAEBPBZqkxCj0+vNZn2sOvj5iwj3C9Qby+oUEViTXWe7P6/RKyqFlYd0A9I8eOT6Dxqh8H10I9QJw9+GbzsotUf+LJPNcEr9fSq9qXM/RgbIolW5XH6CZQwHMYOj64dYIvieG53v51g9PR88h/pfqSSop6jaHKSe2XkGn4IY1SAyDorp9LcKgFrRSpn1FJwzBm3YvN2hyP+GclyhaxoevlsDame7Ls4G9Gu/qU6xdc7to35lnGoTAC8Y0SqJ7rYAd0gCUSIX2EuZo4O/VBhby6jNrc0XZqbrKdsLzRzRGcBYk1zS0lhxxPL8Br5ujrGi5sFep7io+7YXUTM97VchTsHzZ1KIKD7gpvXO0xp2woxL5fMoTQi+2JJEHMscdk6kOf70E4KhyroPzqfHNf0m4hZBNvtZNPLxXFF6FlAOvPtNJ1DEXgxGXpMZjpuE/SBy7ux+qdyzrEeC6xjeHuFxfrkZpaeDIIQyctDjsZK1HTnOoXF3b/FeKylisG0Q9bvyFjHsL2m9hxV2ZvufMVzYXD4Kn53IsNZuG7FJ2iPx0AE/9OsMpH7I+7tGT7Dd9pe1x+bCqFIpeDLP27AqEtJG7bFQHMn5mco7J0V/233ICgoqDg2XJRqQCKQm9YRunzJt6kmZ/7Bq2/oIay8Yoletdrr+aIn5XEn07jwW/LRU0BtsKNbDAtOgSFsXkGX7ei25DvMEB8YfGGkXzcDp8coFw5xPUUZHSk+7Ng2L4OwoH09d/L1ztEuDQExGztdnnaxe69/6m1DgrMdM2YxuQN5OvSwL5Fly70/h/5cOK92uaHB6I2ZaOCNj+3DlfNApNUdbOGIXdFWA8m55tlJx9cavcAvIK0xi6x7hnW8IqAjOhD/ju9Vj5hgbTDE8ibIpwJDxjnlhERt2QYmi7hyRMzmL97ybv93gCPP1GYhjgKH5WHA3q7KeXc/UlHn7UhimSoO8EVH32Xt1QvDRjtchhPEUzvxuGBjpCdZaSPuoELlyFe2s/MN3p+Dc6x9W0vdOEPdYgHg2+fnu/epul0rFwL5DqyLvxkV7dhjJDuWKqxEZCN72K5Xudi5YC0ztSq2K0y0AzVT2bDFDZS/9c1E0wrXy64kTNoWXtgAE4Hx67yRNw0O+KuLCGGHhTfFJ17yLQDl4EJeRS9kb8J6cPzGDWfU+SpbzPSJEoOYVsCvuYVWCkmHccoN6WB0fWSHO8dLFXHauGVfmRGPAXIbJIICJfQa6XMDhwhpWvzRPYswhxdmJiEa6NMjWkBdDAzbj8kNKVG5b73XbT3bV2bJMSTuO9ZgZX9pMZCXoyOqJLWn6ziWxp0Mwmb2XGxGg84JuAb4STpRIdV0f1e760lW+6logrGRUtOLnYghdOYpHM/sWyOIAKGcD5A3yzLDbU4dAg6EOZf3S2f8s4SnCaH1AcmcOsMylWmlGfd60ucZbrQUetMwFdYRQnL5kiqieDxwwhapWv/cEhfwCfKRLTMgcsS09Vap8Kv1x8ZZTH/p/WcoHBPoX/xVxTt8ME9Pg6fNtB1V02yCqBMaMeGw2DLICqEzV/Q1LuALRwOboqcWE7J55yn3vNAvziP9IpIC8cfwb2sz0w151ZH5MN+Rn68HCsMQyXJZh2/VhieYeudSdibMnd1qV+2th++LNAjxDeHrsddTZ3oIpQRewU1XwkEiKER0bZDkXHC03nhr2r+JXJCoigNnrELFLPeZVo3Wyct+gZ0QIZ3xhi0HqaN85nnGc7oSD7/zphSg+Of2wl4ibosLRJiSavIagFkccGAAmI2lzxQEaDlYC+jSTZytHdzWBbPiqISHYxZEErE7N1mN1fDbnzLcKNUhTfXegZ73rlG4tPXtgv1/aIzoDytCJOLPwmcX2xcmku4JfXAcGSCIrEDnshWBuBlVgfokVGaLNflBM9se7cAePuXDgWnGna7C91WGwFZtYP+XMHV7SRoXNZAEE77nWt0WHD1dmZz8ZRncz6lU17KV9rZNKZCpR9Kst5FHiZq+x0+FPZ47JwlS5R6LKmmxblVjm+6XQdiWOnxz0A0sIQDafNBCRgLkVh1WNm1BciJbhLDmbH6d+u+LaJkCEtO07YkfpSUhJW6hfUoOXdgOs3pLyHmrTkPJwkXJoSCU8bICOKxusmJ9SPPacKLEMAl2ihzL0CoOrntpvcwQQ4B7MPeu0P2uoV38cBNhwpNA8L/I1KqjDIzA9lRzPnXDQXL5VAzaq8PZwpK7YhUMim5vQUpQsuvYFcJbcCnfEsfgW5/megOjW5M5VoVmOlEcTShssbGfb4KmGGizi7P6Bk0C5hOhSqJy6KMTB1TwsPqynwsh+pWoNhiRnT8XZRhj7rXJsAbEpM4rfgtYrDIqBVYMuRcBQ6hVfTTaBAQN04YoG9jb3r2Sos/ePGX67R5Vbc6yygBDw6SQp8Q/HAIv50Av1awaPLruW0DNFh1zX3fD2ZNiRZ2CxXO1xh0bMN5vjnMAUyM4Duq0pbtxord6Cl0eiUJ3Q6LgmB7FTFu/2NXn8llZ/BvcQ1FzQcMrxJuhtu6sEtdPRp/D6VTMMOP1lQLet1Wr7LMYdnQ+nm91EGarxAF+/hlfKMSLQc1wdY3WJ/wHNroNR1e2JPFeBmBHWlehL532fihCPpJYFxJhzUxC1BLAlhiOdFcfGVWZ5popprQaum5bEjk4tTKU0VTTiOZOYNMB2c6Yogb/+iKvF3c5c1X47MnSix3VAEGKdYQG+HcO4u9eFkyv/QF+WKOfC3svau1frQNn3WizWk2ckhaQRzf62M/+kme2YgxCmIN+KKAQhgmFFNHqGTpIm1enKqO75Gjm47qkVU7Cp6OT/Bs5+oiA+5nRaSxqZDRrb0rDnIhS3tEqr7jeqFkBiqj7HNW6sx9FpoIyDwtlHCuHLYpPefS8RRPYf/TUvrXU1CgnAd96EIWkEGxxHidVECu8u6EP2ebmquX1azGYGe18Q9TyIrX/WNOVHbJVltNVGjAQwORrZ/TsiJG17KgNRSceDEwKpaitKQWzoGKVzmkqbA8uuxKEiStTTOMHbHxxMRyLJSsGZLU0lYtwAHK1Zb3otyhCc/u0p0b7F9tuwDZfkxIzl7pPVzBkg5OrNxHwRT8mDIutrwt3GWj5iDvGORN91mbZoXpacWXdZyJ83k8UOMIDnpH22JYZ7zgINdXWvgCuW5I8dv9YF79kYidRDcz8Q3BgWCEmQfsVHJrCudoptpvtXgAe5jXnUwTKV1/dLpwdJxhLJGe5u/5CI93QAP8sd5aLDoj09Yuxcx0yuvJV8Kd7d/mspgIrkmiZ+1HTs2/dAHyhh09a/Qy3OS4MYifcvHJDuocbx5320WHC5T1C51UxWaTUlzrexkMvoef+2NZWlK4m3WzvWmz47RQLIfXUVzulY0l+3Ps5+bpnVuEYzD24HQW3N2pJyH96qUyFrB744FzaTVP8oUo3VVEARyLjhPL4rcapf8ZyzeMsmIlZTS1apOtiuhjNi1tVGHbO/FUUQnH9Yfl6BVb8sPNY5twNgRh2GFzsdEJ5lXEp8m2/7hUWizI5rQ8Lm2i15wQYCR6EGeO/CFIBgt1Go8fZH7j7Y6KW72OZN+PO4zuoPkbtR74t+oSsi3+0yZ7KL9Mb6sK22MmvOTcvirMSGMO2x+6uhILXuStF8LOynt84gVOqazh6PBHcjomH4HFMuF3KIlE6iMG7oCDxQLmZrtvy3DbDTcbUDwRrdvRNMbAYZekyHfSUGPklZmv0fW5D2+8hURdfDbmLWJy4kv3YGiFRsvxMeLd+mvcRMRinKj741endFcvOLrrRI5wgynez8SvVzLFdxLlyRi1NciaFNGqXpOvBAkKxzF7IK3u5Eed/w4/E4DulCODw0jLZbRec6fNJuribo38lTvY50LyTxToC4PDhm9b1LJqytcrrCrpjlrkAGWz8n7CO3o2mAFDTArzYV/dZZ+wBGtMLwtzSB3GPYJst2Uvh8ii0LAFKIVjZnXmsrYEH78Tku2Ovue+WybKmF975KP7B2lF7YSEUU5f8sXw8UuJdDY0U8CUr/M4X2udIkEuqczeQjLAYp+ZTb881nFaHQfXPYfIYRxymsgLtMUlK/denVij1vJcQ/T2jlMBRyQNDF3SFSeIXZEw3jtQ4i04t1lU4MM4ZtRj90HkOCk07Rs4ZeI/zErJiqhBlNKF8UddWsuMxfzvh0MZ0aFzOLNeK1naQLt78HDk8ozZTXSgbnl3nq7N8iJ9CjmfGSDSU78SE74gYS5m/wKNh66MxhhbRYEIn/aWG1u/UYJA9MLDPECQVWOayoNHpDZ3pIVQ2+ACFj5fY0N6n7QrpY+zLC/R+8SKDTzkKoH5l+kEOxHghEO3YIKAwgqrgdrUt8+FHXKeEn7Y1549NQmVE57T1HIAgI/es/xyTAgnf9WiP2C8tYW4qZQ5iji1dzaxjxUjAEZxYR4j7Gl1rJHBi8ri/4aQuLijOgUpvgmH5ApEL2c5ryaMkOQl/eO/vUgQkiN1NjK9Wrp2peI5klHeowyOXurKaXnqwoDm0CdyuaPYKWr4cheHECNoon5dtz4lIOj92MAm5vaZ9WXs78mCT3poCbwqN5ljdXfV3OBLeC6AVyrVKr3d7r7ibFMYeFeX39YGiU+B8vCKbVVucRxjOj6oOrEfVFOex6nntR5L9TzUjTgNk/+NmcD1pJhDQjvMtPhjnQ1rjkfBzv+9/jOSD4asdWd0OmzLJMQmY7WrPZ+utFpws4uYx9gE1fsM3DKyGSZo/iDN0T+J0Z7QzRHlSCcwBfyDJwfsxYVU7pbegyGjs4TwlezyZewJk8+qTs3xFyO/sK943V6P/JUqabpWxzAkvru5oheqKphBP/HDDZaSUQkbH2JMg1QAOttJNV025izNM43c+t6CADZ6g+MUcKqwYEJutZEHwrdHL/zielgy2NzKcUrGKcW5cm4Me4NLYoYCWPmqYQph1om4dkGClJ09+FByiZfCMdBWVZdwOj77z5oKqlm+o5+tfkMluAPQns8C+MasqJ+M+g+EnJdZi8EvLbDLDUEqYpLAQQHNBIgSZuX8On0f38iWR8CVttwKNmatZZRl8j5d3SadDrbv7FvXbHEnR9NplZe8csvhwH8Zl5hfIrWU5QccvtksXAYTsrbicFHUZiYKzVtTY+WqfNqgr5Be1ln+4DklMgcX6nB7XGZZOIsi1UvyGcqJcfr0Cyxt4Z2EE7aj2fdMnTLtJCGJn48Vq/HAfq4E0cvbrRXig/YemdgLRJ2QxexpoQF3xue6RzS0VTVMRi+EqpO83EPcEpLfHAxVNxnkiuR+/SiFkEdPW9JVUzm3NaUL/EWj/qFqyQZvQN+VMRrm4lmF8FvTeLZH9n3P1PCuDDi7Vm8Tlnh1tPehb4EQoZH9lrSYWTwWgnwLAPVbPfFoQDt1TMFZEW7JlWVozyZSkia1FmM+eHGV9kkFYndvBqZNIP4oS40KAyTNtMQzUoSNE4t6LV+eiTA+sruaPNW725t/w3Be0BhJ3U0paVlN+Ef8h4hsZPBGziOWQgB4BrukWCK1GpPEAAHJZ+MKR0a8dLZpEx5Q8fPIBYwoS2jcYJfDLaI5GoB2oYiE9CH/TlVjjEwi8TPuotTdReKUs65BD3fIu5ETtycGuxIZr+cVpqCptVXzdvfXkr8JZzUafSWLmnw1GUfk4z7qHquTGPwMpGQrpBuptA8GFQu4veOzI+0w7GxExh46UH+89Zmp/CvL6WtXegfydU7ogf9vfZxqvcnmR26Q/EGM8uNBYsqHsqunznQOvfpXsqDSzLg4EozpzlXsdJmHU8o5zsOGSEvAQDyxS8U0iajkW43I5xUDH4HV+TNxmNNxjOsfSMBMFumfzS0hiIeeHDQFE+83pe4iYs/6khtJY59tLUP2A53F5EvxXsvk//GMsouZ0VRkgyyubm1XdLNS9Q3uGVW4TbZpfoRPzZe9neQUfvvLCUm9+M2GELXQ2UoUpeJOAuAukotsgtS60COdQnZhlVIzt/m9OfCND/PKu52fS/s7f2LLdprsH74tPtCPpS8QiXBdYLwqRV9Mi/TBd3CZ2+7XtELTVR4sA1uz7r3v1WzFWmZyIEwGu0/vvMHPPHWxuQP8sma7Aclv09hWq5TRBlftW8sdv/9V0yQ/dda/h//UocHKKU1uRLBVYsAm17RR132NwjEmAfqDjLBK0oqWmZWwCbRAOUImhJLtEINseqqvT/2zIJvdJ6EoF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H/Log8u2PUbiurOUl4y41FGj5yjliKCShl4xhQqwDwpWbDC9XLH8x0EIVXQIdCN7XyyXhpGzmSkl8F5ABfwMtXFAGWR2g4QQXseRWOH7Q4gQSbHxVDLdWcugVhlgskX3QNZFgHAIGb+fTG+cewQ1ClL2n1QPq4S8DhkM2vsCGIlwePdk6vFziTUrO8nyK0dVT9HOoSKhoKy8hTNtDF3EZKL53Y4c6IF14OjELM0vUH//rzGnbPfZJSPEvEss32hpBIrQgP75jXkoMcC8E5rZvSrGuH4tpE+MYoLYNoTavhuDbmgEJTan9k8d47PhfVxHJKIZP+gaiCm7l54/Nnvswlznf8am1uLB1dxt5a8J+oWMwxfUMu9OC9jDwsdhhLrMWMTZjbhPehJyJMzWwvpCCXTM4bKhtNLdJFXg+tocvCmDksIrgLTrC3lUVyrDlDGP9jrwl8XH+G95ilw8l+dHgLjVsrmN3mmzL0iYcyz1tGupfZ9biMtdB67+u0Z1R4fADN3bhUHNkIRKfwbSvOO2G01PL8K4nqvM1NIKrOuH1aFN4HzC7LQnYhkPF+ey/RRyTQTgYgkwIcaMYCak/8Y9M/A93MzeTX+4QsS4NT/Acsxtm7rZk+ga7XDZH4QAlIXLhLM+Kxpyvj3SXR5n7uN9HnMUb9VItaYpTmqi2XtJMKWXg3QnuyMYs1jewQvpWwGZUML6J22MuczbeiWUOMuaaLUTnjYH96T9XEutr/LQwrxFSKUvuggyBPtg+hMjdqupDgYGboNgfGgiKSIqp9tNQHUgFGQhyA2fNXhWru8knFsFdEUuQfa2MlaaXrqg00dka+vHDpxcxbg4iaZxk5lk46SU5jPr61a/pcnRWy4Nlca+BJmEysJ5w+8cDzWMPbacVqrUhDYOjQurKoUDMGn0KDb3TY3P/9uNMYUbp9aPTY1/EWRIpdZmUIsi4mw6fGsO7b79BCnFi9Pwkuz62ylSiMvCG9j6ZGcxBjYO7yOgsw/MgV2QR2JanprlBDux8e3OfLaTk5I0H9qwbCI4SkDXTqjsEefKOlZEUvpeIIVZz+b48XXyB+/L15a4zhlwGzzurXzFR1wOjorWVnLaZrqW75x3GoMUDF+FaHu9927asFAKBb3CNRFZr3TQbPdZ+tJ4cE7Uc0osGnY1F5cR6+0B76HPXDtjHoIqJGrt2zYXRET/iTnMk8O6Befh0aKSO3xoBEEvGCL7t8oJOCVu3mYAghyBXrcazgTa1Bs8SZRH757K/U1aZQ51blmJnhqU852a4XQ0kGaUoGzn3FMJvceufRsmVu6tabLbQRW29SKXYyDqfCw87NkwyOY3S624oX+e9VgPwuZ9JF33qoZgiPja9SmiYt0BtLc7y212Y/fTqYUxmZa+P2xybTuWDaHb3H8gH6JQlW7yn62yGl0mNWtmEyD7eZroz6ueGU/o29hamtnevEtpMo6TQrpktbWrNke2aEnynZoEki+f3LOlgB83G2X5seixgZpSzm1/6VOsApFcOT7JDw/VJfziRULrgvPLfR72pynxBfu242ucNhGx6Di4J/HoDU5F9yCxKEqTHjJppnWYozNMLSPC2RkWp22Z/0Ws6JZmCmwbHDaQwzwIyWusYHoOm9yy1D3rj5RGNfFX5yN+5zmtZFTt1mIoGka4NIum7x22pwZqX+jSFARVisqDY3Q7U4wfCRqAqtax0SGbUtH2PWDH0ij5WAgnq/n3N5rgm89qHXaqbuMDNQFNA9EKSOMrNaWgMpZMxQM4Xm5GbyWWKZne+nZ06gZl9YGFd7aIqzsn5yxffeGJUbdM5oavCngf2nV+yPfhjiH7SALXg5qnT4K2zQr0XVFymu2AAgfWDpwZxpDvwHt3A94h4pVhQldnyMEzueIllIw0pw5aGN6AWkrj3VDQ1fe1KNbpNiqb2Moo4HRLOB4tbvNW/gTFIKp0oV3PYYkeD3P/0c7o1xVOMdg37O/xx2L1Uure4FZlLIHZcJN9Tn/YK5tdU4i4LXAyR/inMsn3NGlDzb7GuLMVD8bnlQU1acHBMRN2b/S6DOqCNJFooBp8hhenIKTfzUQRTMWpQX3+0h7jUjZpC8+W+knlAbVuIVZcjF7ERVI9B95cHESV8B6TWiw/Bie1vm4+FehjEWMf2C9XrfCzNlNqQYYJBTCEteoOd5FE2C9e7+42GRGWFIb5oGqd4hMsiuOZ9ZPx6KETEJb3/yx+igm+7hVu9JeN7dLZnY6ZtwRds3QuuHXkN3Ao2/NcqC6F4Dee1v181qqXWK88wu/b/gJRrKuznRJsL0bxHcBBuJTAAeATQ6x5GxAZI906B46WPZeczvszlw9CiHp90gqPtJq5mGdks/ZyehMDW5rm5QH2QixVqk4n0pYAu2eDgv77bRr5wQZlXNEpP33vqN7iXKvb+v/Nb3fMZ9Xs7+PJ29+83eqfqjik6IG6c/rFi9GRjrRRscTYrO33f25Bi86sPAtqJvjThmlYDNIBES63bOWjJLA54lSEHigT+7BCxKdDU9QuBYKhx63wTwTAMwIMMj12WjIR9+dJPzJS0sW9h2bYKbba4zBLjnF5Ih2I58yOwzrJxrmKIBI7NwFou1KK500IOIldolMqkz7HcArFd3v6J2OKjTsrKw1IEyNDHYAmS9rH4YDLZTo8GQPqIWeWCGUno8lG0c25cRhHDg+yeFqf5Oj7zrBvNFySjmdpAf5sZRUwaXLGFxCBKXqzj6NeOEnCoNvwemzpQjayTYQKPU54wvbmZdnRoxMX0jFHr8INriA6pHqfMk7OydsDCa27PUO35tJKuR9Foqr9rUPlVBNcDYc/qfefdBiXg/FAkXcSQJY/JQQMhPJL1aIbn6+i26B567YzUqPaYuuW/tGBbfPjGxGyl1RPaapOtC1lBA/ncmMCSi4PsDrqQuImoYUhOIgo+woAs8VQCd687T2K/+Z5UVmIL/UHGAb34iOSGpYG+LlDyEA5SYQCNAO4pGKBoxzI1a3Mvs38UIDvAtQ/fR5HoGWy44SGS7JecbRr22fAskrrccKz7vuqMsVrn+6SVayvulWQgFFtYym++mBcZzM+Jneww4nQUy5XUR6Uz2T5CpWji/OFCGXJHoRPBY+z2Wnaxr0hfggRPhUVDLqMsaSHG/qIPfAMT7GHKuLHBkVYy8lumRtecfnzKglL2NwGgUhgseplnGzA3QwWJFIZcAGSmha3MANt3NXtOK7EAmKEFigjhHA2dNdyn7BtUzizAN1vTt4YtypHNHBMOF61OCqYnIXVoGToFOA41RhkMeklA9Wxv8z2DvTdn6ztkreZPZ6/0xCNzAZ9sXlQU2RSXhV+jfywo9faOF9g6b4iDRrGwxhZ9Y9gIxc/AkCLjO5Ge3rXZaFcPqRWwFtZnZ0Kg+EvJkxzt757BQnsqeYDuoBMoIz3+AxSf8hmioLpUSsyGpLXEp7a4E0tBL4AxsYmlMfrc2/NCjA1IMCljhVquGqYVu+L4k9alsBwC5rSYmDuZ5//IJJwaRktXnHruC73TX3wHieF8Yo6OcGVZi9aZ9TwdFk9bZZQI007510XLp2fQCpy91j3dwkvwvGNBA5FH6r6gDZNhJyHiZFTnQQ1Dc92K3A87bW4/lBmG61fxHU9RXm8lbvGKrBjoWo/+HKE8uwg+ogiPy3/JxrhXekc3/6eOdX+mnu221R2JewKcCIzOTyWDXpgoxS+WAEAHkiKyZtXiu6ECzP6RwWExtw+7kAwyjv4WSvAjxNhZSDnZt+XDI4n3+1/KhuuU+OBS3jFV48saQCjYR30FJe7g0KhUbRnnRtrmxXWgO/OIWpWrzLsazGQYeHGwObeAlxMQA8+/UC9Xq9qC9mpHAg+dU6GIrfLNLgUhzTFTe5PFlFu5IY3RfuAkLClbd9pAcjaR6BFXegpsZxAeKlF/uGoz0+rM7hI5n7Q4YPZEmxDNhn0wDn2+LYAsO0eeLM/jiLFMLW8inRqs+ybxovqQTUk4v51cpnwfK46p67o+BJTPLzgi8y7YxupTjGk3s5P9w5fi78/MQ1PODAGr/JWG6YAKTWpwcCnX0RRGyPRVmYOAzDf/30RkN4m7/Ktei28DfaZl77jSJri4yvksUwvaOdJspnPlMrMJXMs2hJS/swUsuLMEebD/ps9DSZjTtjtkHVS28RHYU4wTEyyNa3uidApj2+eT8JUWxdrIJltfa+2AwYlHHgCQLCNTwaopHN7mts+twKCCAGcaeFyCGu1NPe353IIz2KVDSqTkjIrH8d5tcjRRkJOKYUBxJ1I8F64mjFWdJ+6jrt3Tvq1QkiSd05grCRlncGkoftYiSg3pBN+c9l0Yp6Y+pxvnQRjc3DXBleUPJHi4bX1HKPFF2aeIkcYdQT2csWgtiA5HguiGu+jX7Vw3WBOMtN/CXXTQfmSRQmCeejtxyQuOtXpbyuy+IyIE2UmfTOzZWDbl19N3gEUSmRAEDWBEA1G5wsPxIdMTeY5bvB+ACYGFyf2+X12dhKNtzYY1xhzLESVjKtlLVpZJrxA7QC3eaikRkKFu07h0DdINw3Rq3YbT3MLayohcdqQtuDcM/tsO8RRr2dZOHnRlVo3KR1TgVykNp8ROEVmWR4TZNDMTsf1pEpfa/uJDJh+7C2Bkuc1Eznc9BOFzybo7f4eEYa241v8stuCb2Tb3uyYt41LPdyVOlVWpc06lVexoOEVshHhWitNIGdP5QoqgEcm7Iqn7KH6Jou3GbXO8e00rQpcq4IVWpHtfEzLeODpp/d8R8ZwuqCUciy7OZh2Rs6jKiNTtWEU+0tsUQGbSzMcbT3IhZOA3xvRXrOUVWebQUfK6Pa3Q/bYQRtSIJqjRQ+RxCqaaAvOmNQvy0vpDjENwu4FjBBbmR2JpW+uLU0tT4FY99O5dotaeF9oN0fM3QD0QKhZScdFzTyrkvKhjol2J8sPem4GxF+9QVktA9jn3DY+okGNl+Mui+5z6CiQhuQxqmrPO0KiU8BPY13rum46yKKaIEntjxdGG3gMUpiHNQDN40nNfBdZeahDIoWN6n10aD4eVHi14Wg7eC3jqeCxuW/yLJu2Cqo61RDMTzFSztn/C3vEyhKPwQzU13M4Q980LiwvF1Ah3fKvF8gxp596cQtoiCHIPhU+GV4UzJWeV5Ym2gT6B/BhHsJuAaOH7AFHiCC7mPilxFC5hAIg1ZiisM/2gHP+o8MpXqMPHBp3ILOtEDZZx+4pYO8ggfthpWQbfWM8+KSXgxiuw3elpg9YNxiVzSkKz3cZ2Ax3oqqBBBNGhWsyGlk3SYYDh+RayHekvzn1Hvg4kYmX0IuzbNM+McPRhdibjapPG7FCA6Z1u0i6cc67Ke0scAJta+dxFo/7HKFQeBFRIllHr2290QfYJZta3oKPyrSRUBwtd0WCqNngAVlxh+Ejum8nhuxOOB/RkcklyR8dxYHhRnN6A76n43NLp8/LCtcWEUvFZItItaUMZuYAUPr+zUjdqCCu4pzrIpfb7jWoGS31ef3Zs5tP5LJFRc+XsyT4w8bCLyIwiYDYIxx15IxeDhOqsTIWYXk69Oc1Xfu8vw9FL4Hb+UCSeDZjtU1CtaIlwVvhTHLwE4q6l0wk8gqAktSjnwOCBxht364Mc9CuLcMrlYmk7HuOwlA81LQ89h3stDI93Xk86vM28jVGjz1huPixKIOWRxvXca/7zn6W96F3mPDxw+9RJcbVAutp07WzuV+TmdTCu1+0ITnbhzuUlXxj7vEJJHgHOUTmzmGT5VMNqM/2eKzhJ+Ne/w9C5LXrnEqMRE2OCHXp//0fBP5q8njS263Q/OOMz5EguKLEpsAXTsOpSLFiFcNdznvXZer86kOo0ujcfmZgldOfn7BgsgFIvnut6bukKJyZx5dPRjsSMXBrKhlzOeKwA1ftHGx3kRs9NsPuk7UWszGwy1lnNcsvzthZGgAFaKZjx7ETXiJ98sJFX6ma/MCB85PqR7Z4XXiJAMYgACBZyyFyDP4txpWizJfJ8MUUV4EPRt+P4BHBfQWHgMO42hRtfyifJffNb3DeUaTBpnWmxBmT0T1+zBHxKsuYOqAhl1JRysHLqta9M5NbQpqpxx8OPH23Zq03L1sR6GEXVHRwALvCoH3OPbjGjrof64UWKCYbdpUjga3gSTXBWqTOw/tLwWkOEDFq8CfcXbxLpul9izY0VTh13s92x3ShTp5hGIVtN+fOFenzib/a4sB9YMeLZ+wcPPolGmUk8brL63eKy5lTY2dPOqB/H5/ITeCA06cRrSWHy050mPlZ9WYVRb0w/3irvLAn6Bkx0xx0kuhWUpyuaqA3Zu//A3DeKn52ik9JdFcP2ELUWNBwSFqqxSlo9Z0JwT1zRATNBCay5qz4qYHM8p8MeRXJk9rbWIVOOZAdu2Xv0TGSJfHYDAqdWpLwTNUVFt4NvNWeSR7WVVJFWoWng/CNNQVGwyl0HdtOHsMdgzC8Fye0W5gNHqPgrmfOnGKBXXbhmeyLlsY13JYTfTSyetIrO916vGQPWdBNmxT17I9Hbtrn2yDYWQGpor76Q74C/zvxTKA2Pzp4nIyagUuSVtvVuwDyFK9ecDaZabnK0xBT6/DK94Vhfvkpw/oG1spHgsATcYP0sJQAva0Ex1uHlY3hlPgZXVW0zwzu4jJMUjZqwUZDsweVaC10prufkuULbxH7R4dbdBzJvL6UM1qMY9mZqgiDICI/wRbHqtykC43qwiOR5isybzaTPpJfjRn7eJGEojC63XMDzDJzIgrnIJXJQCXnzKyFFtde6WxCNbuh/Y9UPvbfq6mktMKX6gLCAR6zB84XuC5Bz29TclkHrOtApKHaaw+A7SXp0zpGuHQiobsvN97uZowV6C59ixa/yWanqta2GY2elyXt38HVCedHiyrrV/0G5K3+VQjcXry0aXGhxg4Xhet1rJpBeB+ivsCFsSVZG97t4LY0xb2vLnH+W0UOE+9jDbhoUpPelepI2iZcO2yHB61kaSJ5c4Ocyk6WmhzHFsBzUNSWPx+7A8aRfHGPhyHsuVIE2FQbEnlXQuKexqlEPbucjGxXAC4s2ktIwpODfnjGsqoXh5XyNiACXbwVxnCRG1zLZocrn7KfgFkpPZSH1bl4lllzDncVvE/b9AX35vjFjallrd9bA2+yRoXvO2MhFcF2cdb8ah1Mfm2vpBsWHQKBCim5Fo50pOswzOvrl0mN3y4Luv7PUPAfhx7dtK8N35hN8rCUj225+5BbdEKpxkSd7ki6d06ILZnPU7+ei5FwuX+L8jw8QGyFKI/WlJjE8/8r61A6kE15d8+8V7sEZABLtRXJWc8sOI4GydslKfjuAUdzqz3OYoG6cEpnsbBsODsgEysAfUGSEOrON6fSwLnzq/npnFnDiCgmAr/1FTtkj6+O0ZdTcYDzvwjmjCMbwTzQKs6K2bd8yImQUimJ+vgqSNOlNq/9BuCrqApkgFDPG5uoEDZrvOs6gNCfQEBppc0JDIMI/r9Z29wYnRA1y17balgIAs7U4D21bRWQMU08Oh1QjVull7/VEKocV83nLhlc5P8AD2TZqwrZ23EJ67Pr6sgT5qMYwyW0HvvgYUDNE1QYsmWJXgyUxsb15E5XAB/zdLfSfR2fXmakH54tl/2kWW5HmOgn4137hYxBTo/Pp7zoB+8QzeDlB7sTJXM/vZDpo3FvttHG4GESgkxzEpOHmZrp+G4yYDSlfGQtF4n4UvSzjg8URGiO090q/5hmz3j8uw+dBGpkyzbrhSDxBBRTqfJNpbLV2AacRizejGM8RdRl/7TB9Tofuqh8rrEjMqzxkgIqJhEKK5HGEZsMX1KVCcX7uny76K+dJnA7hQOtCW8InbbIagFGAxA5AWE+GksveXZhTg7q7oVYzKvkUzFTcaZZpSlAJFuJ4CYBUg5A8ql1XlwbP7IquKMBQpwim+Gg6bsQA93aJXoHMbr5QDTD70e8k49tJapYnISQGTQfyL0WHJL+XHJUBiU47y/kJYf3F+1G2gYa6lhVCw0I8KqZkvT9J7J+AMpWpQP5Ygew4l0WPzPLtonL/O2aDH2nq5zCCkD6UwrkXQYcXzGEagnOxe8V7wxwc//wj02hlF8jDeJXCh6kL30DHy/iEqzbiKOc7LdvJvvMZZOtCiLGnKuBur5sc0gc+RrwTL2p6XP+oygn4ohrye27L2bwipvHCgtWOgsTUg2zikABdULq+poiHPw2ZB08czMbeonZOu2LtU/JGMcvt1DII3OE5Udt64WaV9uHwTjYjZx4dAQF+yrS1LeKc3LarbzlZqrdm+mUGUaqK5lExcUG+RqBm49/vAzOVRXv5cnM4StyGKdSLnml0dJGeLZYX0y9M8C70yBz9q9ZQYqa1v0mpT0k78DeuvRF7c+lQID/WbGsni2s2tfA9WF4YWDO4NctpgN7KQ2LtLX/fEQDL9SBOx2bteMA7oTyDhGPbRkjwp9MKo3juvn3Fy+5jmB8dAoRmz1Zrxm6qBpQ3gMzFMPrvOt7mBapcEc98vYWpyMA8mpVun37dAZvUxUVGmDMHTAU2w3A6jEv66/8DAmdNlD0usXeNHVtGLY1vGFsS2AHAEhMWeiiuagDxtl4dxrerwKVcTm6oF3zwB8oGOZ6gCf5erBQY3OEYiceuwB/MV87dO9UfkzPnTRmSZbLsCXG4DWJUoWomac8FyaTEmmnNUCT1KJVDOlKZKm9YZxRJm9Nyxd3BciiNMtQbIKUZ1kAhfTmWihELC0vRLg4XKHeFZewH5NgjsFh1aE21CbLcvfHGX/O8r+Xke0JVoukfw2193ZZQEf1awjVMB1OJEWN6llsL+X/WM3Tgak9XsdzbUG5/fFMD0nwx6VpPvCw0wG296VaJbwIxsqXQ3o5MViqaRqOiDgTqRCHCKpyBWFOfxH3W9SfzDBiHwtP7plGRHgJsEYqtruveJcGKoKZXyQuPAZKpV/0ik8gcZchi8O3PTmY4WbwP/AZiv62EohbFnu9VUQwR2BA4bbj3LTiy0bPNwfOWvcgjyFL5tNzQqQaVixp0m7J1QiYsrkmKuPKMt7UxCzZCjhfEDNtTgBwDhGeejrdL1J3lJs0E4wYVZ/GUwtYrCUq2lhrAMEr1KJelV1YmsVsrfPppyv7Ckd4RtjajJR8QcSD3sztv1B/QJTLV3HIHkUD0rNs7HMrAJJJODpcf4oXUVPdTwYdvdHhOjIsSX6Bj1aLUDO0TE5Ec8KgqXEBm3NmfK9cc/pLzoCo+t8h+KwXIkFFZppVXZ3POK5vc6ZKvubuYCyy1FeEA2RgFONQHS6YUJRrTj7j2ulcJeyC2fDCKyZ7Nd7VWHAFA//hnttPUSDjeYKS7BevxMglEigORhMsky7aiSbs7a1LTtnrTsr9aftqFxodF4radvRZfA4k46qOcQtRYDTUeT+ejTYkHyzjbNEH2WTJYkGXE5VU88BqR3xGawTlQyvZbb8NVgold7KpI8T24DmItLTHtOqENR1y9GaYCAyrZwV6VLikZyE/E9gqI7nDcEdJt3hPh8oJERPUDudfqXYQ4tUolmqG60Vc1AqX0nu1PsmdnnccL7ooeODkrOmceO2aisKBNCTQ59A6zpSxZrQBNDeC/sjJZo/Vp8ri74yPueeNVwhkLXY343HM0Y0CZalP2UX8wW+NTIw8VnIPwzYCCmhjeRx99Fudn7rhSjKQeQ1kKWjjliij8RQHAwPnGsfjRZyHjBae8hE/vFn9ZdbswAPHqWqAgcSMErVwPtFLnMPTvKkTj0C7rzpayzwVWRcvdwGFSEEweKOnRk8Br5aZRGnZP4fk2zDxSW48d1PlG3DM3Zs84wNzD48SeuNDGTwHi2kuGl3YmCzroAdNVkt+AouRbG34xsWJ3jZWLR9480H8OzTc3Vn1TIdbfdysQUU8oQpp1U9iqEyLoM2sx3YUm1ZjTgI5InlSYqVxqRVsqjJ9Dwk3/nnf1Ypvs6UMVuda5lEkQBoAAAmueyNVGj+K4m0b696p4QfiaN+tx51nzBBByKXYUl1EcKzItD3q8jriW1WwOjF4oXulAzKhiqkjLWXZ98Y7Dle0sux1qqeYV32mxjnbAcMIwmOH4uN3/WeI8sLDg8jfMe0iAKUwA0O1FKD2WAQe1xWKpqUxn1M+hnYiiWeyl3O0vZzhcyAcGLT94hpOQaVTHXYw3ihK5EsPK5Vs+MLTKvOl87vBEhAaew7q+f1Htp4XbnUVZ6qFMObhexFMvugf2rtGEsbIrikR5rGJSyZUJwQsHXdxAWnp+4/67op8rcBcGESY5Ng9i/Ya3P7hHdlfeWADUwpErqChMhJimyn1VPuO7RJ9w37xbBc4OKOtAWC7gHOVaH9UUWBQZT7117aN9dv0pEwd7ihTGkqpIX5UrpKCiKOzW4gLGL6H4G3sbxTtoiV0pJHrqIkRBENM5SgUbCWGTNXLYDlmy+YjesWoRnHNwqeJJlHcv+FjehwIxD63oryR7ph3dvuPiXmNBaSVy34NXq5PHHKe1Pxu3fXl2M2fWnCdQ8gqQDHGswgv0BqqfAQhcmRYIoPviQpxDQnSICe921ozWzgTSpi9zHV9FHOIvLXnaAIDIJvwDje9b/SRUQ3m/WEm0xKarm0xERbjB/rHmAVnK7/oE51KSRQyVvGTaORoSAVeqPsCvpOBAmcxSaEMcv747pGko3WoaTNQc/EbZnVwhcJR8M500ZYoO+9anWPzuBozHBBUzXm8df9ak+4uXTbS+3kgU0fDyB7ZXpZ/jeFVCHxZ0V071wWhKhd2ZJI9LHS75INvKl2omFp4dtyvzUPJwP1IJBTsOUm6v2PCrMDZeg4yUm1D7bkzk/bqC+hHwJbf13q7tkOLGaO6tTPItfl9/K1m5MvCdVT8oihUhYcqqq2Se1UcwpCcSTKoJSmishu6Azp9PcFA3kGzRLoNDFuQiGBc5qi9qNjQKwQMJeTIqFko7prTfJ922M7vx6lz79m3IoVxctSMR4NI5IdDJxKpJDp1sBXNoS/4y9irNHMqg0ERctgh7VUSHt0tCcwJjJWxVJ6Fqnk2nGhTJ4FsP+BYF5ectbjwXZkvdHTHkRVsGv8vjDBUFXVBNGQ1WNK6enFhwOpTaRsM8TNJ0RgRFTscVgm5+bDoxgUFJT/3nUZ7Ti/Zpu6YfF2H7hE8Jj3c6SblqMdKGm65dDe+Dj2rzsVwzrI2RFZ7gQMXVSNJSzutdrjV5xrxqRikh6Upq5akD5pclkxrDhqhwEaT+HqbBwvXLWmsyGQ3bknvm3oJtSPi8EKeYuh0ZYusE0vbFWRhhCMmnAfV75WZuzPEtgLVsp/mMUW06aFCuF8uj2OefLlC8sPl5MTzF9mkL63fxK9NZNDmcHvGzKGhrxfWXrwNo0ri/5OgAZwigPJmbbY2arVncEkE+QYycwoo9HSYRkvCTcVKQZGnw1loEosJdZllgg0H7Z5sMoP5bjDIdTDuXeQGuTTBxZt27AU5zZTbVKkfR6aofA8mXW7hDEMuMRT83OxVeqXmlCkYU81i/+IiRcaToSL/sXMALN5GR+n27lWyvp1069ZvNwqcBj1CCui6p9XGYi5tMEMqRx68yrafN1OgQcOuI0dRVIxrL4YtGQ9tUZroyvpgzQqiNFZ6Y+ZPAfNbE+Pk3/SGOwtvqQvFXXg75ywLroaOR0/V4JRzMiGmjoVrmFT9kghiIOyaLvUm88MtP0wkR+YUrit73CgtGUcLMADQjf8N0pUa6PnwcTXeq+zje6Ia52mmEl9tbuNrhtNb/c1WrgJ92ejoZlDjPqxS30f16hvVWGU7QfpxhYfFEdPnY8p1H/XY6XzpoCyXfY0CGJ+tQS7oM2ThnxHEHPq2v8dhYaCQzsyT6fCnu3iA+26GOKd8HO2VMWEbqstIQrRgsxWUzEKkWioulx4XFBRPDdnaRYwXouzdxcDtTx/gBfl7pxj0ssIdo1AJB7JkhbKR9trP2b0gMuRMte8rJEiKOGnr7TimkKRE/MAVPeVNu4sWuZLwmeO7BTuWX2KGe9ue8FNOZ9G2u3RSLkS5psYndRVIR3r3Tlkiyokf66s6Fb6W0leupqUbvZ2pAMmFcf0qeZ0P5zy1WGWMqIyeJzAhecKoZqbfvcToJWw+AYttz6oFghdTQJC3bqtgusrb9tVln3Y/soY85gpVaxLk/NGUdhvvlUassaRbSQHCP/PwJeYgx5v/fEBidWicZRvyGvc6VCdby0H9ZnINospq2mK4362VWXoLwuZ6Nu+yZIV/K4T9Fam2j8TJelUd6P0OQpdCJwP2aX8wPHtqZyGdqmldVvV3FF7VuVdxwh/IHS7BCzjq/bkhgv2ck5KcONa6Za7ia335b1R9nEeRcdXefQ58aP1DNE+oYDAi8dUok/o/i5Xyn2GAPDoMrEZq2k9UvarqMO9wfnQdpCbWYoqWtg/T6TS7LaUcA3Mk6k/0Mb8przRtszms6UnH+7T+QmG1uibBoZ5fAeYIhxye8PjtD3l1MBwgYa/TERT2Z0m62h586Z44lsc/1YAyHwu/I4uJbONQITS+MYWo/juJuZVTP9bTNCjtNqvvNW0gORTLLmrMo56XoIUbZpP/irvsI4epYqxn5XhLkZ/9MxCzBuu1eWOOfTEuBHVme7VnkqSbUrqbX0isa9RnpBRXKWNxxKX/kbh/suIgLhS3JrwQgvCQwhAiKuSJsFAH7FgCkjjKVT+eOwG2THXpY6u4QuaDaBrpDB0G84JjO5d+2shpP0H9fyOstHmSJXN4nuGOoLi0YYAhZrigiOCdS+uyfkPjwCuSvHXgUqBLLqk6AH0FopJtht9Jpev5rAe/XL3dAu9uptVFxA1WNEysweRmnmO6GUETzdZLoFhcoab+WU+38sRulur6DMZYrcBuObExx72XLk6NDRe6WyaLoIaWzoRvtgyEZQmrPBVzXj8mJn2rLTfF6WYkyrSwczbcpqlTQTGrM6Ykk3263QDK2KWW2uE12fyVVqZog0ZFeiWbsmXcYjYBB2jjpf1r1lmUWptUoh0iHIoeqz56kg2IpiFV71w2whUpS8Li/bsREf34t6yKqR6WGQKbjsOqdvQVaMuClOF/s1G9o7W9y3ZAYCrU1LrLDJevX6FlSZ89D0/H40kEVjeQf+iK55wg4YLa5zDab21diqSWqa5hF4HKTpu41n/5q10HcPalZG+iujQ4dJGFu/L+6ZSrHR1jeOWZs7T+qivir3iOjcnLE2wskRXvItjML3bQxA+r3td2abX3TkIMPFJ+wMAlvcDRpA6FeeibpSLNYzaIqxj1zoLMLtPpKuphEBHooN8arWswi95avGpYr+vO8jEkWOuD7lvTGAnMIGELkS7SxjIrBHKy4BV33SFmvmmmvOTNj/+bWvqavQ/0vgOoznWgig8UFFiYi1IqjXOahyP7YQz6N/p7A03gWUlXxL1iby6MlAjI3fAyUK/MAXnWajVfhyJti+A0MEQ5ijrsgezfBOhC+zCpIjTr1Fx0TxSGLNLa4iwFqFWv1ZKlxgYoD2jaw08qLzoO6TTPMRsOUl7zxOdPo/xldeDXVlX3nXE+S7V+ziqZsK/tHlomBX8gDBlRaTuByeBa0cLbOboJEDw7Jr/AD1kjnYV8rcv2S28mQPf4xUpPcr8NBvgRcl2g6jlTauJ0hIM0XgHu/YNSs4dpNNSxEqW/di8vjzG7D74isuV+uV2tDHkQeSghHZXu6s/exW/fdrKsztNtWeqlBAsSyGmFdKnU9pE3hP9AnZeoflX1bzayNSCnRz2bYb7xj+aVmpbyfyUyP5dKpygFdZs+7F7Yz5oKcCqBcC5vcaYoyU+oOVRks2YUXyLfKNVSdXyB53MHuGnICwMxCLZLUEvOQdWSyY7IYmN+h1ZKGgPZ5v8Ay0OHuUiCU4S6SDOROQcnYqvIaoSsdYfQpiff7EEW+dmN/rKoAyde4GabiWhadPqfXWmZRS4eo/7xo8TMFSGqtGoNFeltr7a1Lx4jOirilIk0XaA0gySz72YAAVjzvCArqDCgE4bJ6mTznXMZGLCf1FkxJdNOz/RbWjPrmkALwKQteZGibw2sQPvREsStLBa3B7ckz7PgQDUCKvRKYdFzSa3F/Q54I37iN9HfrqHiItCJQPOdolQVQHMEFF1crhV/aP/1Vg6eunUUvPUICCiDNsglKmoA5S7hIZIs++z7cH+D2K00c8txjBM3v8C7356aTyOCflXDYOj7X4UOBZ/L7+LG2WjsPyIG1HN+cpKO429ANw8UalcMwld/TvbMGZUwUNzSP8SdN6l5MQbSZbGeG8KsmhINuMsiT/NZTBfSFQ3F8g3z1ESooMQBS/T9xTYWc6kZB1fnNf1/vShiSw0rb9w6jvYPzOK6lT3rzLQ4d3h0ww8tsNDSyYdr/N2/rTWNLpn9ov/AeuRD6ouWaYjEluyKGwNM/U3j1mytZb0c5Y4Q78ph/isIh5UXhuB3ZJOiLIyKAxBGiWFE5FeAWS1Lt/smEWMfw8iDPf2CpByH/w6OpI4KzjSz4ngMnUaeQmumyWcYzL78OFCgam+z0UQ3ux4zfmdKkpiTndmVTLhs+fMyxnBDV9v99BolMkYs2gbRBdyN/1XGa15/H81rI5ZJiz76hse1/q1GSunD3e8QJwcJvwnSe7DFVsEdXZbQ7Ov9CzdNcT0eHgjB34V3in6/HRtyXcl0XQXHLBqTA0zM/1Rs87qaiVvfHQwVCD/chVpCD9uHXSMrEtYVPZ2GGIhn2B0x8FPYaYUWoQpd8nRFVcZlaHfwexTs+jookexH59qK6i6HROLMfiDU1PB6gSCJYewCYhk3LUjmKPWZTAm+KSdP8Z9JoPP6Grn0qix4zn0dPhr38KDT9LWl/nV8XeUxUybyhYxSXef5H5my/od22WvbqK0wsb0ZooyCKUHkL8f9qgNOxfD3zARJfZ5/DDEuqgT1LWo5MJJi0L/HDwqZSob08uSNehOeERpOmxuRKZm5ixSMvOV+MdGzMDK8g/rY9w2r3doYPGfME3mmQTXqNbU4iMtGE7+Vp5aYdjyXPQgLJpq5K2pCfBHqxo9zqMUVZ+9WWBear4GofXxbiAU48mkzsOEAc8shNEqbMTeHLYsqMq8nR85E3a4bLLGon88WKb42wmUYUVW2vBROlPSnZ9d1Dqc+Bhy/RpEqGRB63Rr7e2ze5CKmQVX/V3D0JElVSYLlT5ITLmIWsNqj2eqEOQdbVgVp5v7Vpc0yLIbprDqslJsWdRjF85G7l+rgEUf3BGOFUWS/ti7FC8+Nu7ds07Apo/fC3cwyyBA7kYUZzZPjupYjnFcdwXYt2gwMwuMtjMYiPvLqkyp5GosPjmZmH60i+KjHE30LllA/zgfb+nJYV8ZSYVIF2ovig650RuVT6rBNeGHvuAOTCHGJK44c4AmWACTLyIbEa3TClajR2gG3qFqaZINIa79CynNLyNy/tv9kOOnT5z4kCv7bVqEkD/OvYGyWDlpDtJuSQiEqbtf/m0ZD0VeHeejke2FyGnocFunEu1NpUqd0Rn9lnnJrSWT+FRjmvWoularkY1/ENlADDq/x3BNmiNY1BldyIj8qu8aEEKcwPPlfcjp1fJ5HWhAMhl/vrOrd4c/PXtX7HdMIOkOEXwHE5YF1Q8P+G0LmDlm2emHmw3LAUYH9LQhcIj60SDM3IG0Ekdwj29B12wjodaaZURUXHBJoAfJiSndk0ME798rd2ZdR1FbwB6OlNawGxpQ0WZdG3hUPLoER6myPfKIQGkhDC3Cym2EJK2uaA1fxOQfGKO02Xl4gXK/7IEwB2a7EJCUQ72IDHkJ1dCUl9Voj1TT9R/mfSDz7wAWcdHjFDD8Sngc4YH6dysryNcjP/PHuoqE4S9VATFlhZpFMGK9XgiA/2Tew5nrZJDBAetHNF5IumZ8yaO93geXNez2XEHA/dbwKW23th4/qrBw6y2GYuKywBOJZOPxi7PI9lsjHwIKzmlRDRaSwwpo11BeIeyoL1eAuCOeSLUry227eOVVAmHHkLB3d3vBNixkP9PwsooskxrcVqRcpoAbE446I9ul96xPAo+7JPGJGU4zOEOJM0Pr0YZWEPuEgQ6m6YGcF2c8cG5fiKyZ1pwHY7NVcuIpu8bU67TCN1otJ5dP2j5FzvNEGzY7+/DTE47tIH3tHHwBAacD5DjyxAP2dK6AbskNOi31x6AOyjXB2aXlTDiT93PBBgwBqSqmXcL6O8i7pdCwP25lkMxM7AXQbdvuJRQR4gwWth0ue6i+WRbJFc1RCMbb++gebxRTpszhCaOcEBhVnyPOibYOEIoZraWPudqqgUs3VxVpXK1Oi0MUNSBc0mPwWI3W0NRDWyP3NlErT2dk2UaAWibHRuL+HvGJ9U9FBLBb7ei+/plvT6E5E41fX1wrl9mAqbAYx6ri8P+k540KkF2e/w1INPfh9SkuDwiEND2/qgy53AmTk1mR06a7qEHz8YkD6PSrymgh1l5wIjIZzp7Ru1lysrGpDGFR/sf5oKoDKbhWE4degBHtZDiFXWpntxlWscJXug2WJfKAx1ZHE1ngPDphzgue5Ah+sYMoUdiBbDQP14GU+68gh0E7+C/7hs6A/xhPSw+MYdTkw/ohZaVyvrkE1b4yedDg/u7AZUy7dCeYz2YgMXuE+Fg6U3fRhgK2vNIjw/CqL1mEGTKmYbMYP7ZImwj6kEKfAetrRGQFF+kQVBB394lUHNReZfQlR/AXE0+3rPIgS/X2oy5MsgmvQJGTL2zStIlmnkOs+97DvShYAwlFOPutpnO4w3SZcsTpO1jsbSsm0zwDfuBXd5uYaXhmQhrizyC7BQlow5ZeZ6CqYhVE6yLkTLpyJLrpxVgXA01AB42XnJWp/SjpCvi1Meg0qIEzQQVh0b3AoCzpdwEunKz6rs1ieVO2vlsbc5MAzZlNknKYEbt4AYwdS1fDQw1qcDm0PoL7y1kQLEcAMsidef3a1eoo6LjI3utDiBHoMgfdbw51fDpZoYryZkCYvHK3pRdEcunLthcWNhma1Ir0FrvamnMCbynjLSX15JD2jcudsRtFF2ThA3+uxQOc3qfgOBanbXil90SqA612K/A1TrX4FizDWyayI892dCn194GlV8oSCZPfo90SsFVQ8BEdMVAKNul2FhEn1ZQU0i5vDm9csBv1G4A4f9d86wp1XRKxo/WOOWFenj+v9sCB9je4ONWrmEN6hgJOyMW6wHDLkQfhh9n20wGO1J0NxKNPEJxnYUqad2qCdn7G/UzZouBPvmOpZ2HZjxcTY9+hS1jKxdYrcgMMBjunBvX+CHsFXJ+okPWflOA+ji5mjXa7chzeeriRpsmfiv/khaV3zNOoj2D8r8+GFeNNTXbjLYT/K5/fl+XBMt2+i0ZXGmfpkuscwwg9eWIZyCeTJ/x4yB9hXwDFygCQYDd29xLMIVbn/74CFq1LTzAfZB9+PQqZPs+wQfYeSEUFHekwbDBvXb1+6vJXKRPMQ+lVZfs92/FsnuqtnjwKdoom0pSFMo8zOmo1VIrVsg6UsrE6OL2KOD5+qCfpYROTKRF1EGOkb6z/wguxRaHWk042aBBBp/bGkoLEBHThJq0UKlQoMiW1cxAEXkIuUrOwJrzZ2OD4ptuvPDQZUTsp2CRsoeTGEg22Iu+IyaNM5nokE1DHxnJBcRBF6mbF5mlh1OW7LHqiXmvcKoKYjrdG5XrttOGP03RfvPmb/j1HJzSNppC6ghsEPtbtHKi0fU1EkensDJl1H6IQ+Xglc/XNFzMVnSo1bsy0HmFLeXTL6h3L9lErnl5R8VfEOVIDqDKVZRt/ns15/OU5S8Co795vk8tc7/fOXHVN1UwxLKp6uGs23vJL3E/smIHh2f7w3Oh5MI0kgvamrs+XFbFoqEATt97/Pmzd2QaOZyk6gZXttZJo9Qc9zdi39Yn8GXvjWueD4yHrqDRM04ODfLkBUMtQzPwJNe0IIbsEXtd/lMd+MgqlQfJ3uwpzzgqC0fV5oIo9vNbMLWBq76qWWGtaKIRNLO/AhTSMzudJ8SxR+R0tOEIe9OQO7nOFx2REQlm35d/zjiXt+drSKISIlOPSrum+51uuCSacIbDeEw9hPXM6s9nOvPjK6h3gNif9sIXzzNXd+sI/Aunnm+4zh+L/SDJRWgOsWWzb9GU7A0zMA5g6uIo+JI7gI5rvgDZ3ZX2hzkY2fN/bNTEszX+saN2KkMEXqGk//nF6f2C9sttxnfKcG2cm8DqxUQu47q53wPQowkh2ral8xddSyK8SxQp9WsARJJ1tzrENYc2V8JTrP6EFrX7RrhFRKunsOERYGcBhQo2xs2WxZRYBJpToxyCfPKkg4hovotRU/C8+1N0BmkdIIdLQXpPjvnL75WVz37IMcpEz2MMhP9HfyBin88X/UVvqngCCuOTzcBcijzCGC0DzCwMDcy+Yvetr0oYRAUUzYcbSq/mxyUt1gMY+8WjessXYA0A+wdkrNvBaIjMFd53majKmM9XM6mGsvqaWLSDpNAgdIpn35P3ZjCXajjZHt8+yCmoDNBnBQNqVdXPCZpCm4r9epT8f2YBT5CwM41HuwIwOvEyW3vHQ00/TC5uDjubesKiC1dEGV11heLWEkaJnoPM0nTMsl5zGEEZeVqtVxhGz549+72VxEf4d6hjFrlr4nli1wsSsCcfmbN3xoRBjVe3DTI6K4Czrbl7SScVd4eFn05jLBSq7SltHwDh60xBJ0xytC27B+yQe5MgJDQa1fQjOxxFNBHcE0rpvf+bYMdP53ZwZXahPOK6QczeV9x9df9OwScyPW+hsT2gUM98eKYtZCqfYLNtbp+k4NssgCbpaYr83kndPy0JF5XYO+UJusW01cxlGab+3MsPIZCLaw5RvcKA/aBkwcmVGspveDG2XDYLj/JiwxoEoiRS9Tnzs8APrMay6QpZK6dl+zD/XHEVdu2INGDQRFZjhOv459YcGoLU4rqWDIQt3pJRKr6Zm1Z819CH3TPF32WhGxRDoBZbQYFOdWMKior29YnWb7qalZPDNk6Orqa7EKTARsZq5ymfOdvRodnmAMw5J75v7qYazWIixxJh/luFQ6y/JFuPviaIBh35Nvkug2mIVQDZ1t20mvCWAucPVIsbzOBcUjQh/qXgZh1fQ1l1m/wdrr82HxD7qSI6RH1AWsoKoPF+lRMb9hmaNGNqYVVUpWvSiOHwKrFNUwxdqsJuMjlN3gfjIThyqlCz5BROaV2GROsG9Dxs2fTy5nREvGM2vZ+wkqmc1hjt+UB2WLmF3Ak0WpsdwOMjajcKWkQ77yGkZmHEtS0Jl8fCnP8c8Y6VBXk68vnFd0fLRWszwZv79O2RdpGIzW/ehEm8JGV0hVdkhkJLX03PzH6/Z6GC4/y55s54z+bGTWkP76m7038eTm46aN3srlhlt51H5mDShqVsfp99lZJivP84uhY5YhttljRxK13NkOQPQLwCtk37UfYIlccsIEjUCFjmke4jRP5o/n6CORJ3mYg5jXlORJjmcfm08KgZKSjc2x1+vfu/z1wS73A1bgPWPRu2N1pbq6vCKSwxSZPYvubjAEVKLA/fNVi3jwK29HVZjyw3cj3NnGqYEBxyPVyoMeidgGNOIucRW5BjY0dS9MWEx5a5tsf6QGSYFk14D/mI1+5LADY4/VTLazldsTRmjbtbvEmkrEkBhGRsN1v6SboGo+mXJwLAA2sPVxrBdw/fxhipcMUum0snQk9gDyvchVCz062Dpp0NJNkdjSdWTX/ie2aVBMl5S92vbklSXJpo74Wqcah3QyW6f+kbCE/qKc6rDcj3eZAUjbuy9C2JNuJ4VpBIsCD376gEBYqYKFaO6fnRfUx/zqY0oKJDXSzlKqCMdqctzbFhqGAWP5VOezrWCF4MLL4kmuMcY+fqEwNbju8D0sGiiDRTMN+lsXHP0yOifMcXr1HjrHtQIOldgp9aC7LVuv/8kVJTurqUWqcXqAkynXf3gIBpJWz6bbygZTQUzxwyW9U/mrETppVYa3sDkouZMWF66zyHa1o3/uN//28dDgKBhRseunZq/ycWKV9CAZpMYuTQE/oYEsN1itTZGOdj9hXvXya7uWT8Z8flcImI47jzMS9H22vaXxiuVuJpbiLLMIXgy6fIpGKjSICExIs27egXCoZySh8EfoFtA7tsBNUTn0OHGtkS0aAHhBX1wfTAJOkRfCgZX6zNF8uDpWJpXENr1xEN74OUgRXzA/vNw0BwB9BQHK7On16ytI0fhiPLBdnVDSmq5jaTzIc1XYKBbKnjzDRw3Sq3MXVKg2NRrt2aUq4zpgqxHTSzrgVJxm2dM9g6eZXeP1l7Azydjx9AnVE6213q/+lfWtu/DNjFB8+ebHsCNXNxEx2VpBwOK7AcFghGDJbY0cbPFCq1/70c0lcyidmet7CND6r282LHSFhKB2f8e8NE2SoBDuyCzthb0hdN3OjojttL4oHUcxBBAu5+ItUZ0UWAT/jWYPgwL+sWWyCxulpSXdSD7ByZpdGWJQlBvD7wkRMyZ9d+NpjTFC/w4f8pTsiwVlNoOCygKFlN/ZLCY8ZA84NuNfKZuU9amEGrxaZjNbEK0sdPLB9UDGn6IMFhQy/fsHTtXpYwC3vv5iwkgvNOTQln/WDC+aIOncKYa+gS2N3w2DFGJFQhLncFRsTW0oy+69ZQ9XbaZpzpW+tbrZHoYUFraXL3/dYmYPj4A5zMauv307Gcx2de7AXYhNDjapMtRb8IeRTp1o/apUVvpsLyQgw6YaKZTFZlc3GS9V+VJne0FAT+nwhHvXPOw+4iaaBEl1nbMwYSDkIvCXOl/a2nuuOX2AzieWUCeDKbP4iqMfy5BV71m2dvFMDYVaJiDUpphq3uqtcZEoOmWdITajTg6vKRN05qxKKeaVFg9cfq/tTURd2G+t1N+OcV8l6UYFfEa0VzIwS0cXfx+6iWreTzvhWSfUsptU7nHvdDAfbBPQg3Y3np5cS9oitKLU3BhiWXD5jvyCAHPHdpOnN0oF+3uwpOLjiDYhnodl7Vp4xXykm0ebIxwsbH//uHOSXmY3L8satdBFp6J8NYA3ZtlSc5sx8JhfLPltTrbSho43CH2CEbzDKZ5LuL4XdeYS0OIbzgDpulM5lgY3xS+/iBtuOVfQzN2fjUYRQKTc4HB+L38hTi37oQYBgtTe2sYkGLO7FUm6+YunctS0K5PsiY0C6WIviwyxb3RhJyyxGDmGIw77D6NBJ+SkonD2oh1Ys6QuZ/GuAvLX/BWy+meTIRBSBtKaZFwLhPx2z+dlOMHGD1smXcQoROsAHwv//wcAj6V+RlY/2tRO+EcXUHHbPv+7bYv2lGkhhGqVjNgH/NuBNN/tM4orEdeccJhFP7TCeoNk0Hj+Cpjp6gVTOSTJ0oR8oJE9YN90/vjDYW21Y2rb8gzJHwUcR8gD3FAeVoi9CPjzykdYYOs0ciDzy7bL0bgI9qvnB0g6obYd5od6AT1KePbUzlHk/SaHWdTcFXDcyXikkg689l4mRdOMo80Ytls9sho1BmFXcr8OOXPWb1BZJAPU2U0nVnbeE5Z1ZHN7RdzrymQeGxC51gTf72wAaDsIUFFDO4l9FQ78iIrc3bKmCoCNXR1SEWigtKPKO+a5tOUdRNFw0NhRDB8Pp/sFl16m2QCfPBnMgpXpYUHmpGK2ldane6DrMj8FsoPIizIwjtcO0ZidTAhoavGg4Tj+9jVbR8t953GpPEhr7UgfI8cqUX16hlBqEcMscUtOfH/iBbe4sg3qBbK7JG/Ls6oNMY6yyjt+tKsMCztSlYzSTJH1c/EHIk77DVajkVMbRvinavXF+iJJUKmE7WU1MzrDif/qox8iZc2iUaNm8L1yXZrPEEnq5AGKpE7LWXCsj/NvSy/XD2LjO6oHYXRJOjP+kWrxM8+dSNHf/cQpIHBeXJl+gR0Y3rr7lwWfTyWRDGxhasCobT3lBYfU6kzcD5F4orV9GwDlo2u91qvSAJzA3l5kSQrZrBHVvj3AzCG1R70jKbhWdMzsszLpMOzgfERmZTzwCO6Ng/tqleNjtsX4JVkwIltiMIpOdZJlTVWZ09RW92syEfE1C6DjMXwHAingKaIROk8cAi/rVqArDNAtqUO3Lwlgsl/dBCRVAKNg9IUNa32FQhhhyKI+9I9S7IfBXvAumaqlUQbzvdocd8TWBP/LZXvMmojJwjT3EEP+YLJ71JErwRgR7khkX3wyMsA0P3QPgxzfy5HnAlh53+h/toheeyFeuSpir2YUnVnLyYJH5QHJ3b5NHgCq1K+ZA0Yc1+347ytOxLLWVxtQPofYLyL8lzeb7mbEX12K6NZnqcLcq/iqNWVOzXkwU3qrfU7VH1UH6QZz+vn12G3WRI4AJT3qvh9KP3lr6ZvjP7TLP4e2x8JpitE91QKTtjQbXvxWN3iwXtmfohwI8lIsZWSlSGbrx2nsZwZoLrum4xBF/WziNeeC3u+M+WMH2ZFMz2/Ta6fMcekdcejO0l2CLGNIOX1Oxokev4thvjXhzwV8cUbjSYQzNlbkMoR9WlGtSesTDML9fvCRAOroxM0UE/xhwjQJc7qcDDHmhyY7eNi/zdJhYSRxF6kbGAu1FknVQ0fw7X8uXsn0LET85z+eVrM18106s2tRiibv4zD9R8rdv1VfydMcwBT13mw9LwNwtP78e6+j/1EKZ31FHuwitl/+Bg9lFWsU7viFJAmDNzxLBeu4GVtOptJgqH6/47L86zmxoV28TRsbkdS5sfkampVRB+D27MXlgZC03YRhQGM3D5+9CJL3vwFQx+bSyadLHWG6mQLo5C7tCmcFVBt2Iizec9vmzACDv0WuISUSGF3U2ZHELUXzZcDoLxrsJvEOKif7Fc3Qt4M1nkn4QgNknscRbfIwQT0YZjaKxeC7d0e5FHLKfIIvBuMJXjG4o4ufr3ktq66meHjOOiV+gHpYT11A8D4bZxBwKO7HIfAMagAuTkRchBFyV8/l0M6bbCuJ4OWoKjQSUl1HjLSmhEjHp52ya5bPHvgGZmJ9j2FAN7IN4ylT5dLdJERHW7IvtJSZRI0mEpJDlk+KydHgTvCXmLx5TnuLefZZ4FcRIPCrzNPPpWNEP9hEjlfZjzjLwQz4xxN9qbPwXd6aD+rYJNQ+rnz3z0IWGLoAQql7MB7JNQwOJcDnqoLEV7OIXLzLxSlXPUZDfOHrfSUK2BKisEXQ3is4GmKWcy0ShojuxpZ9d1BLbamKGlXvU9lD0nM6GnLw4yzCiU8nI6EwAKzK1Lo5R9XfrnFPswFvJiYEuMOXb6qW4oKLWUZiCLkRk2ealN128zTt+5TjvU8Z5wnUnplaXO0XjXa/tPzO09ItktjXXfE71JU8tW4LJQgbiyg5xh22tTc3hOIcEdMqWCyk0/xAz/ses7RnEN+wQ/A6AaVR9OCsNPsP0O3dpmRqpjlPXJBL1KauT0kVSKs4IMngaWJzanfWFbh2YjpZyLjLUw6ido/SAtGZ29MxT3UL9QkJG2DnsyleB2ZNSUZtTj3VNqXBvCuDqBQNfsJ1wsl91Fq+mq9ueEoSzzudXVUVEpJ6WasIktfCptuXKDlyz85dXFDTD+OHIa0djH/qdBfjE0KVZVlH7XeN17+qgzLtyaM6rZ+dv7rdv1Eps5Sv7jXGrpRKeQjyB2QRouuflCq36sKxINSPfe9NJoqItMtlsiDC97OxZQ21Csr5MMJlgzI5qTFrsH4rsjJPhWgWv39QA0fLcVZVSDgeqFTmRwh6z5s00EN0WWIDi6d31q+Mb74PaOqPCd904OIIUQ86GQPksMwj08yMaBVUHYcMZBC0ibM+vWeGaR51xsHOsdu8/SL7TQjAp9OvC5RRd8sMi9iIPHx50qd7VNCtjZeqEch8bAdH4EO7HPNu6q9jZM1DPMVOQKiTzzQO9P7jaD7iNpLhPz7yKlWPfhLMykgOjbZblpDhsKyFK7v+pvuq4nY+pn7FWVVWLBetoT2Li+Zbc5BgYuVvpGFrBf0UIIc98NAt/RfEdcaIfLyCjeSiHegCJiAXSEhIv+6yZHg7/nVb5YUQAyRaXtScLDkS9MH0/MABgpLTCVd6pWbl2GWR8BwdaevQ22Hun4m2Q54F0+FZKvdnL4SiRc2xiC5IteGy1R3THb4xfg5LtR2NbgBYvDDe7C67jHQxMiM6+p8/5aM5TyNoVNTNEzjRlhO70K7KdRUcjqo0H5cHUfXbQ1Gn2AmazCoYI/4CCa9nmvHikTpb56LI+g8CV4evqR+OiZk+keNIq5wPYEgM0c196D7PLH3CzoY6VouBA40qpLdmM1hGKMAEqQLTzejHBStLyZ52m9Ik3tDicsW52bjUjQeiOhHZ96482EpRwWcaB2OXDCVmUOkBeEQBtZoaH9yz9FABTtAFpRb7RXng4QWC6youUBKyhhHwfBIs6EwnE70kjddAGJirl7vjpaDeKNvOmr7w7JV0jMTdzmzFHYYTxTXDsMTeA0a4BSI/8lOeB+0cdpUKIJzducppEX9zHJV6QGKrgku+r94PAvYSjeXETuvyH48Yr3ecemVXPE5K5kK3VppzU8zuvDIFS24206DCmeGBTR2ULZMxbFuV1xmhz6GiT0IUXBeb8aeX4JawvWr4/MhLGQmji8dsDs+RN016f2Tpsm7SRsQhuLU2tlFdX4UOgDHYfaP+4cxG5FhBtHo6S7vnUbLCnz7OAqdNEfHu9f0KQje+h0yHNiFCyzIpYXrl8Ozqongy1UOv7rZLaOQfFhmbFikTwE5HwztgeiiCxI5yGeWX/DPLVElOdcKcoMvVQ2422qhFj801sn/vSwM4aqtnDuJHDdzhAr34l9hHrp9wCwVpC9gdNtYiDI3F0tU3VWdKOHa14jGm1iSse8CXCvjMq29euoA++8/Ye1TxKLR4/KqK2e9W5exXBQ0FV2bummZwRcNUP+Btobx6S95m88A7ZSbHP1SVm2m/7+pieE7Nq6rXu3E7wDR9EF9D9fPhvfX/ZtwwBYQPjTzdxGivNVpgXQf7ZEJGolELR5XnsxnnVYTkxB476R4vVweA17wggXzM2+DvtI4rRIwTF3VDXWG0TywIAPkfPEqeHhu92+WrNbf2q3L94HRPqr9rVP1Lg8DfLM5BCWKG/g2Twsy2WZ+wxC1gnpqWk00GnFeygOOB2IEa8L3SLvTviwMzzNTcvVYv6A9pEHCDMCu5nIeIxu++XKmRu51r2KhY2+b6Hq60oI0of/LtBLbDvFcyGUs4kDay1yJ+niA2xdKSueBFQOjKPLRqIp93Xk+PJ+OmGgMCn1ezwRKWUxXGFDK+OHQYRAi8smiS9NGtlca2J8PdgBU5J2CMFWORahBmE04cYqs5t8Ho8u8OvMoT2KFNio1YMxukcveJXRtTZabYJ3x4A2CyyhmVfbQNio2epxQPlavBGr0jjELCH1/WF0viglr3WCBOwGRgPGrZ1X2R6YL+aSmnj9slekAiPYnBoXdlOKYd8Cz8B/CmwOcdUgYdAmTqGzlSLuzPOCl8NcF6k+AMSIYN9dA5I3oquST5aBmVbRrFbBABJ3GylG7oXbh6tOc5kZ/utxbEwW08u65f+8hMDbCMt8R1fgauWfRjG5IC60UdmFfw+f7p9BEyftm+H8s3H2mH8bKx9hHfq5Pq8Jy4m5ZMLCamYyp87QZ1jHtKPTLbHAMHXE0eyvz2wmdZvdRKo+eytIsOxboPIJ4tv3ju9P3PZDcCP/+5HS052/FZCPq+iRXYLsjIBNNk/0UdPe/A/Tg0cTcyoaaevkRFDyHbTMQLVXrxG82M1b7qBZV6V6I5DCrkvO/Rl21lr80mO480nDqyfwrl6cBzhsLL8z8ClVFV9bJ0uXtAgMpfLLPPaOeS9DlB/kGvYnIWANttcXjtfNqt4UKSFyb/k6dyYvGYlQ+wJrLC6pQA2IKKj3fd4g/cQ1J0WuqhObGvAEW+pzl5iWAhr4Zon5HMTzINtg1T2vIjjHMkvkju9H33tvwEOiEXCjGhmdyhuHjuzuFpKRFYt5EUzFoXMrMANdqK9u8L4kDEhZATXGwgZAyrGRW/q7Q92W1vpKrIS7zdcVdqZQwRge+rB0OgcizFmwlEXq5a8mysLrjKsmlGaj1JAHYgKt9FLbu6LHxyTw1UZZPiivxthK32Klc9+XzJ8MXGePWjpY3ibW5ZHAyTUtI9+6oKfL4leyGgE4bJlfIlQcsRvuCY3165m49pDDqcIx0+Gfnb1u+xPiXUQLlXnILXxuXfv8BDOv+svd9sOVmrFcKm0ZPSCHIxK+D9dp3Mw2feDHV2DB3OZEmtjkuwE+EKlvOd9M3zWMKGGCWhPKynAJRZThi1+uOCFgpp4bZq7rjhAdlLoIjc9PTrbhkNX2Ez08IgAMbu3q+ynWkJblhs5QNYi7vzq8JkuBI92zgHIV8/Q+SKnWm+NrFQCXrS5YSk5RENebELDNcCE7U7VjkFUgz6NYDvOsTvc3fM10hxAxuP/FoH2QUaDuby9pavDftftmjMweIauFz5GwwKaP48KJO+f3Gt4uRmE/R1r5Ngo5ybvJZy/8njGrHrBT9nbDMOekRwKg7uAIUPQ/VkSaadpYAhzQM0PAVd1lCzRuq3S2yArowyd58j2uh6XuBkbuOh59pOP6ncvxfgFx09l5+Le70N6db2d67IfqPTOgffNmbRN4/gvpcBJ3qC3wif76OSefbgWH11qwz3j3jqQonQf7AMmP5bunZPilz730rga9MB0BIv45qJwvECHxOiZTVLH2h4/MGhm4NUiWNcy/RmGtBFfX5yeEklXGubrQGMf9+hEbAokIws0t9ByCPdVSvMV0zt4WsHx70vmNV9FNzXgWt+w4QeQhr7jhgocenKeY2EUDI2H+VlFPyoED/vsuwUmtMxEPBZhZBfHvdZtAAbv0UlTCsM/iZOD/8a0RRAETZtbHlpG1HP6Wodz+sfBs7ldHnb3n26chA/sj0J+wPEnIgCBjQKgctG9RIBfFIdZ3qX9UEffIvVEicYATYolGkG0cvbDvsIrKgSFuvmwUTRaD+HWGuD++vMUJo21jMTZP7VSBtoBD3fqNqzukOqPJliHiAeJPwJi4nWky+5mAG5QcZSrYfL5nCBsNkKHdcXlpyoXQtB84ofZQpu5pbnjkrNCJD6C7SUJP1q+xYjCAz9QqLi2jKinDYPDDrCq6QqhXqSIvkbimrxDVCx9rmIw4nkynVdmBtzD9tk7/YrdgLe/wg5Pfpb0j78CI9ZtwniphR9qOF42h7i5/1rql9Up3stfJ127cajJKEPXRgpt7ujKsN6p4Qwfmbkqjx2ItEadhiZB6m823PK5tZADrslgCTlSkJXnebNIvdOMKowm9lw6/XOrpyaxBPpqTuzaqhVWzAk3uP6y3gisBipnGKF5UQDuToEaJxHo5Q3+yKdzBs17PX+EhW8aFzCU8D17HV9sU2Mfu+dE9yKi8I9yWzu51PIdnzHn5OW8XLWFQrpoFvNs5zAGUNEw/bZiZbrtUicRjdgzOX7u3wsznVj1G5OxlrrlK65tgxp2el1tFKpb7+WuVBUl8s7zuatWJapwaBcc2DZGdeRlnHsdg6DnmDurnrFr+kfJCt1wjwu2SlgVtTYHcUVDIFuaYnCl9e449YJ4gp2qPjo9wYnmiinkzXZn3Kh++pS41ODgq/CEbO7Q4vXK6jFeIAmNnPtMpHIt+nA/NnTCwEvDuNJEenVwkNm90yip/vSWBL10vdeyUW8nrn/hCw+aYp8Q4xPjD78muCLXWyFZpiIxS9Ub66c+nrGMM4w1Um1GsLk41tDvcQ7QnHcliN0AS4TloHK+Zix/o1OQDlrFUIL6SlJY6nygEezKQntE9Dl4DzShV7ndTWBdzm3kcXJXuE4VwtpBL7NoqR5VNKU5UUdkOP/2N0Wwu8aR6sS+m8kaTRz7SE725oM+N/jxl3vJIhoFDexwXlA8z3Fm1drdPH9cGgItBAo1+PAICLLrUAMLpz5WgJP11OAtWReIpmZAJmWRU8mZ4bkFiOL19Bbi9dHpz7l6CNZfbCOfXZRNwEnT8eFHzUXJta+S6d/F16vLbuoGp66PlgwV49uJ406R1vc1vDetyJ97DxtLHw7kkYiofqX+w8IgVlbLY+zdOyf3MFL+Ix5UUpxcqzAl7+7RNiKZWmW12nbD3KnpmJD75TPZ6UWLPbbNhUybzibqmsdfUNJwaOsnRQO2RUHTaM878mCGsUeoHveybQsg3vaJvo9F1z4qDcdyqw8rdtTJCWb1lX0m1lF3gOaDEfw7KPNtvWCNrAN+cGppYoUg/Ou7tQuMJFaD74zoje4iKxs4xzGbEEO/LfAToC3gWv3Y3v6qvVJuOPsPhtvORx/LEjgmkdXJyNwLUiSXCLrSSs17o1RI+mNooZL/wVRmfljcUr/0fsDcNN/R9T1burwYMdI/rTS8wuqEfqdGuXO4yduvzpjB72OiQjXHWhaFk3dtXmbUblr5oGrwQ14rmN5JY2rjNup2/jZhCXHHu/SLiAtPzO7DoLbOJFVpOmBeuWeGbRidiWtFPVpmtV0ZPIBOanESU1VTCEX9E4RFOO06gFHky5OUuxHoL2WuAE2BpLt5Cd4/a7UIy0CEMWi9AA/CilLRrVjzNE5ddZMrSPjCKSZ5tJ28Nk1JJ7uCBtdYn1NC+OXhjjNY1IWoymc7JITyI8t0rVP+VtZVS26tWuUqn/0+xjZ6g+nRkycCzFWzsiVyCzOgPE9Y0xYq9BOdDPWrdcX3RR2ZZKmmPHKmtllQ+favQl5boTu2JgTARR1b6wHNCCTon8lA0E2p1QzNoCIWRAhwSsFie6C9p9sbegEzJmV9jXBYW3Cmy8e+LDk48K3zzkMFJiHSSLbXQdS3L3RnLgIXDq67N+liuvR5pTuJmxFugzHylGno1XpDZWHAoLrP7MAiXQ03RzUMRQUpmcKvPdbnEGVW0yR4uVNe+WF6zYqvGauReCtARw65x/cVL6phHtpUXFX9dUp2tNk5QEr7M3H+ie4TskSIhTSGOLkS08VCt3ptAyGTVybrwUudmYZh9lln2QtCvOkymQ7Jc3rV58v6c1qWJ8fiBowXpBiET4QBt79SUmPZvscZ98f/pq08JNTv/UgZOBTvTz3THRz1QUbLKZaZ3lrqt11GywkziYT3lVunCOkpxzP/ChhYGLgYHBAxEF7NgdpoMAXF+MqQ+9cH76dt01W1obLStDo4aQ/n6ebAL1IOap6nFrdzQKywvctMaAR1p+qQBFeoGO+QiWqbRtqQ2XOx27UcjTH1QcJ/LVZ93+omBxewnerTgUsracYahy2+W0kfy7L9TGw2Mk2d8HonBc1wqP99LeCPE9oUrjYB4uvUtkE17Uxmz5tEmDB1qZIw5aJl6vdkeh2sKGpoV4Jy4J6j0jSTS264akbwLr3FzO0jU8/nqtaroJPvEgxjZX8FwSk6s3rlIKIPkfaj7FYpRjKESo9EaM0VHXokCoBT8cKBHsX+ntp4KJQPvd6YTpr+YYSqHUcoQ7ZN+ThIwH1lAemOd5YkkcIwIpQG+tdt4+Fn9DlPpiATOfaU6wla3arnXjMjltzxhuD6I2w8SbbtuFPyKP1KfES4angbAmheNsTWdGjdhBPpGybg8Pj3ktz/+9WJiqIZSwkrMxebYPo3rHITwdJXr9wbQNdh/unziJoML9VZO3WfKnqZ08tYka/XBOTm3gNzwodb0EW2zHNpTJ/XtJ2RpGvhdWy7kNC6x280zEHu1U/1sGgO4sfKx/2fwQZn9S7wqkaGYMKjJvs5vd7n2PQHd1txj2dYe1BXiQTliDpHIo8fKfLjAkLkz+2A5NGQE67dEkXGsrBN7gMr2m9Cv95SJT1G/BZmxcI5amLRo5XPtyoD5xcNDKch7jjwqdH59j4OCvx5R6N5MSTxtyGfJHUX7+QiNAfUY4eFhJg7yV8B7KpPeIWreE+GwyE1ZL6YaqibncjXZi+V/KLOTbIJ30YD/ooz+m9gU9YYky8N/HNCdLEzewW77xxxJ+9NzEPYFZ1W3DvkQDypXPaslOVCOQQonV3KC8LsO/aexlpMv9F8j6M9zRHxhWBUHXlxGYMgD1Ldz1B4uOZ80TrXmRwZUpWvlqd08hs1gWZGqFIlQd69kK9MQYOJ5FQJRlIa9lW5VVSA3qUC9eZPh4basjnUiQZMid3i0JaaQUJH8dDE9kFB6m4jbtB91DvNlT93nQSFIvLtssKoDbcVue5D3ZAMKcTbofrb1XB2UCUMDNifXv0VNcwmt64jcQnb50BfoSS1ZRMeXufTTB97xarqwO2BNZHCrcQ6f948dE0dROLenoYONOKZDt8W4ASy8sShZGaXPzEy6gbE6qYWR6ia3OJV2musA0a2uYlrizKw0zbzpVkRpnXhQoygmQVijLgLxHyxo21w3e/Pec2MhEHejdWfVyCNtts4sfTwXMluWyodKLg2UG6M2qIMA+lo3IKh6cXCcS4g4yXIYljW31QMIvA9Zzeq3Xun7v6B5knj/VJusNK7abzJZci0g1ZYx7NUivr6xztC/2vdvRe3+akYrq6o6C2nO/C7zSUNxJb8bCnZbJw3VD3eKU298Ygva1P0knL8XhT9R1o86v5/sASaZg+SeJVN6BAAtGJctDcUpR2q5IFwWqc0e3NFVK2CVpuPsrfOiMgRv//BNWazxqEaTouOOZy7YBu9nU/aXTgIb7rN0X4HIc6nHimQc43IvA1ejf3HslXDWNTRc8HflXepYcE1mIz+EifyjvPBT374tHYoawswrklvMZ+o2OfrSixy0eA0Rbl2zIe9gL+CR463aIC9QUWGBofud+RGhbfvRt8SJRBRASiJer7LFc7DGuenaG8HIdzud8BEbMzr2P9OAI7RKYizKrypRP21KyObWMAzP6plAwBlAzougufxeEHjQTHRVqxRSwWPomyBapnOJzpnBIkQs2/4DAleQnnZSNCY4K0V7kv+i2g1eYxzLyP+e4Ml+ryMKY4o+I3OY5tXeWb2m6a0upD33HmsjJ8fS2S0g4aHnsMgs0ZXUgD9ms4zZ1x8KBc11CyUbo2DwMRYdqTw4fqsP+kmwjd4jLXVf6Eo53G33aZcvYYNTBkpg7oKZSQl0LNAhBoh2nlxeELnOqENAsAWn8sjYhobbyrdKtqFS0ubpkGw8zif5iduFok+v2LY1PW4McrfEQrPro9JVRtEDH4l3NUnsM9OvGp5lbsCl3Oz0iK02KRYRMje33BaxIcckKIORV6p+aJPzPlmPrLwZ9jVbzHqxPxLJ8IGZruQJyXLcsB1q2YOF5mDhZEGMHUz1EhBpgwvQOK3CWuh1vQ6mB76NUPmqz9ntneAYV49Wl3UU9C1fKKZt5QMDEsqJSs/AmOZr/F1ouvFZ4sLjHRbiV5yjoAbbvb+1mCrC8MEgRo1wvElLHfLGpRh0LE29jgydlgOQlpI7D43OkIW1Z1sts6WukLypdYJly/V1/f2aTHL4TZNb0YzgM2cB6+Nv9V1rm+gvlUsVXDh1ywdEn7jtYL8rEb5LtZLhO5RL7XRcw1JOqU/O5n7IeSiX+u5fKbA1uUiLYwtDKD79nzcnPajnx0r+X6xXkQJeKMc7anI6yXS9+qHPldxCtMBYcIO4RHzmbVAdgz9ck+Ay8/hYHa5fgey62BHq7DqUuK+PJhLBgnqxfX6xgEMV/7Ie7kvpQpzvf1IAjMathZaw6451Jq+xm7J2IXpi7XuEEDPA/RrT6hj/RrcgKyN/w0hWyElXdTd7iHplt82vQOhaHEp/DLgU4WZoXrrSBda345j402wjZuWJk5T932C1wmsEnFkemSn092jsPvTm9lg3ohAKFarxxqQuF5fqPzstTCMRVRrV2HZ0RFuTHwzRR4tvd7Ji6UIso20sKqMABqaaYkgTEQpZZPsiuhq9r4qTn7ZB7hzzj2F3v4WShhlaZauYOFtTtczRroDNDDtkrFtGhBDaDT7YU2VKue8O2OEqoQOT73dqD19NSVEf9FQlYOZ5+IAG0D5JcM3AHkdX2iLicOJl8wKNMKgjzNyuNQUwveoKLSlMubXWDR9RVuLtfknZL91YJtKLUcRQRHSwKUFBlyZP2LG5ruaOqDeLyH2QW+7iGx6Z15Om2IaoF3ikOlm/8WfH/F7vK1g+YcjBM29auLLLj9IR2Oft7X+tIBApRmuy2jUTk48OLWx8OuqhZh+yYcpTBbMR4aoWf/kQ+SSuSB1J5pMNWHvIKP7E0SjU0YVEtKjPhRtuhEquqoHRvQ2ePUCRgk3zBjU4K8osioDs1D00jAvIgc5J5HO4qFkMX0Wek7DemtpdTMW+vPTSg5bzgD8JxTIpJf0xkiLliqPCUp8GXAe8thrb7pZQo594bUKjBYwrXD/iVWfAuQpFiwrMjwyLrwl34ak7wpsgNdRBT5zAORfSRwbt5FYFa7lLJgzwW0Yb+2bI38VCYePkknfGbDTDuvVcpnrxvYGz0LhG/I29A44Fle3fMK95Tevwq5gYtpXZq0/UwB0I6gWd9clHXMGTe1sV5KWM8OyjOCKdUk9FgvgBzCai4BQLZGJsB0x10njoiwS8VDl7TJL9iowPOtuyS7Zn+gql4Rm1YcCiVOKoZi/JfczOWAwj7BF5GkZj8tnW3CvtqbIgRQQk2qCJLUBIcmb6HC30emHj232xQ3ahRwdxCMhfuT63JNSUdlzgWclC2M05pIgxdXO2EytBcBDSft5kns7CFXgx85ZVysul63CYPTtSbDlvu/ejf9Nlf/dPzX3/LgaxcgCDIpjgDZ8rn6PVnKhPwz4zf8yPUzr2UGu5Gh3UP5yayLN7x+ggliaZHv/IE420/5XBoNZ8UheRtUDWW5SFkhtfvwnrgUEMdo81I8UzhYODwvOC0bA7HXNKgABvjFqinPAWddSJwh9T0ae9v8xFawqvDv0rUNnZh8c1bp3YVYtIn3ewmmTC7Nfx+wonmEbIhsS3OZTPvKDj5u35DlCQdrQwy+sdKb+7pXw1L/9c0n/fmLhdDr4ysxr2DzPG95murf1Pa+Vgc7GwtnES9TVOPf6KozppzFsODo/NXWOf7ADKNLSjb1QXxxaMpYRaC2jXFZ0+rkeb63r+s46xUkZCofcew82GJbVMrnH2E7XWizrI3lCUBCZqAAkyUjjWTZXu7kDCaVZSNetAATtuLkUHP7VcHqwAUMUQ3nquD9qMTXLMBuKv4fExEnUEn086EjtIGvAAJzwIAspuHQkYITb6BYhD8iUXXT6RnUTC+w/GeQ="/>
  <p:tag name="MEKKOXMLTAGS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74</TotalTime>
  <Words>1310</Words>
  <Application>Microsoft Office PowerPoint</Application>
  <PresentationFormat>On-screen Show (4:3)</PresentationFormat>
  <Paragraphs>263</Paragraphs>
  <Slides>30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1" baseType="lpstr">
      <vt:lpstr>Office Theme</vt:lpstr>
      <vt:lpstr>PowerPoint Presentation</vt:lpstr>
      <vt:lpstr>Previous Ecosystem</vt:lpstr>
      <vt:lpstr>Funding Was Equally Inefficient</vt:lpstr>
      <vt:lpstr>Evolution to a Coordinated System</vt:lpstr>
      <vt:lpstr>PowerPoint Presentation</vt:lpstr>
      <vt:lpstr>PowerPoint Presentation</vt:lpstr>
      <vt:lpstr>By the Numbers</vt:lpstr>
      <vt:lpstr>Historical HUD Homeless Count</vt:lpstr>
      <vt:lpstr>PowerPoint Presentation</vt:lpstr>
      <vt:lpstr>PowerPoint Presentation</vt:lpstr>
      <vt:lpstr>PowerPoint Presentation</vt:lpstr>
      <vt:lpstr>PowerPoint Presentation</vt:lpstr>
      <vt:lpstr>ClearPath: Guiding principles</vt:lpstr>
      <vt:lpstr>Big Goals:</vt:lpstr>
      <vt:lpstr>Guiding Principle 1</vt:lpstr>
      <vt:lpstr>Coordinated Entry System Ma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uiding Principle 4</vt:lpstr>
      <vt:lpstr>PowerPoint Presentation</vt:lpstr>
      <vt:lpstr>PowerPoint Presentation</vt:lpstr>
      <vt:lpstr>PowerPoint Presentation</vt:lpstr>
      <vt:lpstr>PowerPoint Presentation</vt:lpstr>
    </vt:vector>
  </TitlesOfParts>
  <Company>Porter Novell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arra Swalve</dc:creator>
  <cp:lastModifiedBy>Marchman, Cathryn F.</cp:lastModifiedBy>
  <cp:revision>80</cp:revision>
  <dcterms:created xsi:type="dcterms:W3CDTF">2017-04-26T15:04:37Z</dcterms:created>
  <dcterms:modified xsi:type="dcterms:W3CDTF">2018-03-06T05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